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3.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4.xml" ContentType="application/vnd.openxmlformats-officedocument.presentationml.tags+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xml" ContentType="application/vnd.openxmlformats-officedocument.presentationml.tags+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6.xml" ContentType="application/vnd.openxmlformats-officedocument.presentationml.tags+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32"/>
    <p:sldMasterId id="2147483811" r:id="rId33"/>
  </p:sldMasterIdLst>
  <p:notesMasterIdLst>
    <p:notesMasterId r:id="rId51"/>
  </p:notesMasterIdLst>
  <p:sldIdLst>
    <p:sldId id="2103813176" r:id="rId34"/>
    <p:sldId id="276" r:id="rId35"/>
    <p:sldId id="260" r:id="rId36"/>
    <p:sldId id="2145705858" r:id="rId37"/>
    <p:sldId id="2145705859" r:id="rId38"/>
    <p:sldId id="2145705861" r:id="rId39"/>
    <p:sldId id="2145705862" r:id="rId40"/>
    <p:sldId id="2145705863" r:id="rId41"/>
    <p:sldId id="266" r:id="rId42"/>
    <p:sldId id="259" r:id="rId43"/>
    <p:sldId id="270" r:id="rId44"/>
    <p:sldId id="527" r:id="rId45"/>
    <p:sldId id="526" r:id="rId46"/>
    <p:sldId id="271" r:id="rId47"/>
    <p:sldId id="273" r:id="rId48"/>
    <p:sldId id="529" r:id="rId49"/>
    <p:sldId id="274" r:id="rId50"/>
  </p:sldIdLst>
  <p:sldSz cx="12192000" cy="6858000"/>
  <p:notesSz cx="6858000" cy="91440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767" autoAdjust="0"/>
  </p:normalViewPr>
  <p:slideViewPr>
    <p:cSldViewPr snapToGrid="0">
      <p:cViewPr varScale="1">
        <p:scale>
          <a:sx n="77" d="100"/>
          <a:sy n="77" d="100"/>
        </p:scale>
        <p:origin x="883"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6.xml"/><Relationship Id="rId21" Type="http://schemas.openxmlformats.org/officeDocument/2006/relationships/customXml" Target="../customXml/item21.xml"/><Relationship Id="rId34" Type="http://schemas.openxmlformats.org/officeDocument/2006/relationships/slide" Target="slides/slide1.xml"/><Relationship Id="rId42" Type="http://schemas.openxmlformats.org/officeDocument/2006/relationships/slide" Target="slides/slide9.xml"/><Relationship Id="rId47" Type="http://schemas.openxmlformats.org/officeDocument/2006/relationships/slide" Target="slides/slide14.xml"/><Relationship Id="rId50" Type="http://schemas.openxmlformats.org/officeDocument/2006/relationships/slide" Target="slides/slide17.xml"/><Relationship Id="rId55"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1.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presProps" Target="presProps.xml"/><Relationship Id="rId5" Type="http://schemas.openxmlformats.org/officeDocument/2006/relationships/customXml" Target="../customXml/item5.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11.xml"/><Relationship Id="rId52"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2.xml"/><Relationship Id="rId38" Type="http://schemas.openxmlformats.org/officeDocument/2006/relationships/slide" Target="slides/slide5.xml"/><Relationship Id="rId46" Type="http://schemas.openxmlformats.org/officeDocument/2006/relationships/slide" Target="slides/slide13.xml"/><Relationship Id="rId20" Type="http://schemas.openxmlformats.org/officeDocument/2006/relationships/customXml" Target="../customXml/item20.xml"/><Relationship Id="rId41" Type="http://schemas.openxmlformats.org/officeDocument/2006/relationships/slide" Target="slides/slide8.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3.xml"/><Relationship Id="rId49" Type="http://schemas.openxmlformats.org/officeDocument/2006/relationships/slide" Target="slides/slide16.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61C2B5-A8AB-4291-8C4D-A0449ABE488B}"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n-US"/>
        </a:p>
      </dgm:t>
    </dgm:pt>
    <dgm:pt modelId="{629F70DA-59B6-4E8E-BD22-8B3AAFF1B82B}">
      <dgm:prSet custT="1"/>
      <dgm:spPr/>
      <dgm:t>
        <a:bodyPr/>
        <a:lstStyle/>
        <a:p>
          <a:r>
            <a:rPr lang="en-US" sz="3200" baseline="0" dirty="0">
              <a:latin typeface="Segoe UI" panose="020B0502040204020203" pitchFamily="34" charset="0"/>
            </a:rPr>
            <a:t>Class hours</a:t>
          </a:r>
          <a:endParaRPr lang="en-US" sz="3200" dirty="0">
            <a:latin typeface="Segoe UI" panose="020B0502040204020203" pitchFamily="34" charset="0"/>
          </a:endParaRPr>
        </a:p>
      </dgm:t>
    </dgm:pt>
    <dgm:pt modelId="{BA380C48-9839-4500-80E2-D9A74E47A5E1}" type="parTrans" cxnId="{71ABC1E8-53C9-4B5A-82E1-906805BD9678}">
      <dgm:prSet/>
      <dgm:spPr/>
      <dgm:t>
        <a:bodyPr/>
        <a:lstStyle/>
        <a:p>
          <a:endParaRPr lang="en-US"/>
        </a:p>
      </dgm:t>
    </dgm:pt>
    <dgm:pt modelId="{B1CFA9E7-E3D9-4BE3-AE07-411E1E4BAF42}" type="sibTrans" cxnId="{71ABC1E8-53C9-4B5A-82E1-906805BD9678}">
      <dgm:prSet/>
      <dgm:spPr/>
      <dgm:t>
        <a:bodyPr/>
        <a:lstStyle/>
        <a:p>
          <a:endParaRPr lang="en-US"/>
        </a:p>
      </dgm:t>
    </dgm:pt>
    <dgm:pt modelId="{CB1B1955-D41D-4185-9B71-32DCA67971A1}">
      <dgm:prSet custT="1"/>
      <dgm:spPr/>
      <dgm:t>
        <a:bodyPr/>
        <a:lstStyle/>
        <a:p>
          <a:r>
            <a:rPr lang="en-US" sz="3200" baseline="0" dirty="0">
              <a:latin typeface="Segoe UI" panose="020B0502040204020203" pitchFamily="34" charset="0"/>
            </a:rPr>
            <a:t>Building hours</a:t>
          </a:r>
          <a:endParaRPr lang="en-US" sz="3200" dirty="0">
            <a:latin typeface="Segoe UI" panose="020B0502040204020203" pitchFamily="34" charset="0"/>
          </a:endParaRPr>
        </a:p>
      </dgm:t>
    </dgm:pt>
    <dgm:pt modelId="{7A989912-4707-4962-BABC-152CDF4CF93A}" type="parTrans" cxnId="{4EF38824-AAD2-425A-A07C-C38A7FF4332F}">
      <dgm:prSet/>
      <dgm:spPr/>
      <dgm:t>
        <a:bodyPr/>
        <a:lstStyle/>
        <a:p>
          <a:endParaRPr lang="en-US"/>
        </a:p>
      </dgm:t>
    </dgm:pt>
    <dgm:pt modelId="{651E51A9-BCD6-4B62-B81B-7F9D2600E96C}" type="sibTrans" cxnId="{4EF38824-AAD2-425A-A07C-C38A7FF4332F}">
      <dgm:prSet/>
      <dgm:spPr/>
      <dgm:t>
        <a:bodyPr/>
        <a:lstStyle/>
        <a:p>
          <a:endParaRPr lang="en-US"/>
        </a:p>
      </dgm:t>
    </dgm:pt>
    <dgm:pt modelId="{EE896815-6343-4063-9EE8-E0CA8FEF08AD}">
      <dgm:prSet custT="1"/>
      <dgm:spPr/>
      <dgm:t>
        <a:bodyPr/>
        <a:lstStyle/>
        <a:p>
          <a:r>
            <a:rPr lang="en-US" sz="3200" baseline="0">
              <a:latin typeface="Segoe UI" panose="020B0502040204020203" pitchFamily="34" charset="0"/>
            </a:rPr>
            <a:t>Parking</a:t>
          </a:r>
          <a:endParaRPr lang="en-US" sz="3200">
            <a:latin typeface="Segoe UI" panose="020B0502040204020203" pitchFamily="34" charset="0"/>
          </a:endParaRPr>
        </a:p>
      </dgm:t>
    </dgm:pt>
    <dgm:pt modelId="{AD09DE70-6184-40F4-8D98-B1276BBC722F}" type="parTrans" cxnId="{D2DA4B8C-DF2F-497E-82E6-DB927CE5EB55}">
      <dgm:prSet/>
      <dgm:spPr/>
      <dgm:t>
        <a:bodyPr/>
        <a:lstStyle/>
        <a:p>
          <a:endParaRPr lang="en-US"/>
        </a:p>
      </dgm:t>
    </dgm:pt>
    <dgm:pt modelId="{8D35D125-BECA-4324-8345-85CE0EC624F9}" type="sibTrans" cxnId="{D2DA4B8C-DF2F-497E-82E6-DB927CE5EB55}">
      <dgm:prSet/>
      <dgm:spPr/>
      <dgm:t>
        <a:bodyPr/>
        <a:lstStyle/>
        <a:p>
          <a:endParaRPr lang="en-US"/>
        </a:p>
      </dgm:t>
    </dgm:pt>
    <dgm:pt modelId="{8BD17EB4-7EA5-416D-AA3D-93E2863E7307}">
      <dgm:prSet custT="1"/>
      <dgm:spPr/>
      <dgm:t>
        <a:bodyPr/>
        <a:lstStyle/>
        <a:p>
          <a:r>
            <a:rPr lang="en-US" sz="3200" baseline="0" dirty="0">
              <a:latin typeface="Segoe UI" panose="020B0502040204020203" pitchFamily="34" charset="0"/>
            </a:rPr>
            <a:t>Restrooms</a:t>
          </a:r>
          <a:endParaRPr lang="en-US" sz="3200" dirty="0">
            <a:latin typeface="Segoe UI" panose="020B0502040204020203" pitchFamily="34" charset="0"/>
          </a:endParaRPr>
        </a:p>
      </dgm:t>
    </dgm:pt>
    <dgm:pt modelId="{6E2AD9F0-088A-48E5-89B7-73CEA486F457}" type="parTrans" cxnId="{60368D3B-3046-4AB6-8117-68C2681F2C32}">
      <dgm:prSet/>
      <dgm:spPr/>
      <dgm:t>
        <a:bodyPr/>
        <a:lstStyle/>
        <a:p>
          <a:endParaRPr lang="en-US"/>
        </a:p>
      </dgm:t>
    </dgm:pt>
    <dgm:pt modelId="{9961A019-9C9D-454C-A19A-70D038B3AF3A}" type="sibTrans" cxnId="{60368D3B-3046-4AB6-8117-68C2681F2C32}">
      <dgm:prSet/>
      <dgm:spPr/>
      <dgm:t>
        <a:bodyPr/>
        <a:lstStyle/>
        <a:p>
          <a:endParaRPr lang="en-US"/>
        </a:p>
      </dgm:t>
    </dgm:pt>
    <dgm:pt modelId="{4ACA79AB-F691-4A07-AA17-250D61D3298F}">
      <dgm:prSet custT="1"/>
      <dgm:spPr/>
      <dgm:t>
        <a:bodyPr/>
        <a:lstStyle/>
        <a:p>
          <a:r>
            <a:rPr lang="en-US" sz="3200" baseline="0" dirty="0">
              <a:latin typeface="Segoe UI" panose="020B0502040204020203" pitchFamily="34" charset="0"/>
            </a:rPr>
            <a:t>Meals</a:t>
          </a:r>
          <a:endParaRPr lang="en-US" sz="3200" dirty="0">
            <a:latin typeface="Segoe UI" panose="020B0502040204020203" pitchFamily="34" charset="0"/>
          </a:endParaRPr>
        </a:p>
      </dgm:t>
    </dgm:pt>
    <dgm:pt modelId="{D74B01E0-9DC5-4F88-9575-DC51BB1B8F8D}" type="parTrans" cxnId="{9D36530C-2BBE-495F-820C-952D5B16060E}">
      <dgm:prSet/>
      <dgm:spPr/>
      <dgm:t>
        <a:bodyPr/>
        <a:lstStyle/>
        <a:p>
          <a:endParaRPr lang="en-US"/>
        </a:p>
      </dgm:t>
    </dgm:pt>
    <dgm:pt modelId="{5E6A2ADC-1A08-46D7-B584-CC899BF49256}" type="sibTrans" cxnId="{9D36530C-2BBE-495F-820C-952D5B16060E}">
      <dgm:prSet/>
      <dgm:spPr/>
      <dgm:t>
        <a:bodyPr/>
        <a:lstStyle/>
        <a:p>
          <a:endParaRPr lang="en-US"/>
        </a:p>
      </dgm:t>
    </dgm:pt>
    <dgm:pt modelId="{6588C4F4-8ED8-49EC-8470-20A3F9932C2C}">
      <dgm:prSet custT="1"/>
      <dgm:spPr/>
      <dgm:t>
        <a:bodyPr/>
        <a:lstStyle/>
        <a:p>
          <a:r>
            <a:rPr lang="en-US" sz="3200" baseline="0" dirty="0">
              <a:latin typeface="Segoe UI" panose="020B0502040204020203" pitchFamily="34" charset="0"/>
            </a:rPr>
            <a:t>Phones</a:t>
          </a:r>
          <a:endParaRPr lang="en-US" sz="3200" dirty="0">
            <a:latin typeface="Segoe UI" panose="020B0502040204020203" pitchFamily="34" charset="0"/>
          </a:endParaRPr>
        </a:p>
      </dgm:t>
    </dgm:pt>
    <dgm:pt modelId="{90653420-A9E4-4EBB-8870-B0DE2CE26530}" type="parTrans" cxnId="{E4C57D19-5576-4E55-AD2A-ED22E06F5A13}">
      <dgm:prSet/>
      <dgm:spPr/>
      <dgm:t>
        <a:bodyPr/>
        <a:lstStyle/>
        <a:p>
          <a:endParaRPr lang="en-US"/>
        </a:p>
      </dgm:t>
    </dgm:pt>
    <dgm:pt modelId="{A547E774-D2D4-4B30-851E-F45876AE2474}" type="sibTrans" cxnId="{E4C57D19-5576-4E55-AD2A-ED22E06F5A13}">
      <dgm:prSet/>
      <dgm:spPr/>
      <dgm:t>
        <a:bodyPr/>
        <a:lstStyle/>
        <a:p>
          <a:endParaRPr lang="en-US"/>
        </a:p>
      </dgm:t>
    </dgm:pt>
    <dgm:pt modelId="{3AFD64E9-2B47-486E-8957-DAF9B626954D}">
      <dgm:prSet custT="1"/>
      <dgm:spPr/>
      <dgm:t>
        <a:bodyPr/>
        <a:lstStyle/>
        <a:p>
          <a:r>
            <a:rPr lang="en-US" sz="3200" baseline="0" dirty="0">
              <a:latin typeface="Segoe UI" panose="020B0502040204020203" pitchFamily="34" charset="0"/>
            </a:rPr>
            <a:t>Smoking</a:t>
          </a:r>
          <a:endParaRPr lang="en-US" sz="3200" dirty="0">
            <a:latin typeface="Segoe UI" panose="020B0502040204020203" pitchFamily="34" charset="0"/>
          </a:endParaRPr>
        </a:p>
      </dgm:t>
    </dgm:pt>
    <dgm:pt modelId="{94277F17-E3A5-4518-930E-D6D1D1559384}" type="parTrans" cxnId="{1E78EE08-FB11-43B2-97D5-79E811A57A94}">
      <dgm:prSet/>
      <dgm:spPr/>
      <dgm:t>
        <a:bodyPr/>
        <a:lstStyle/>
        <a:p>
          <a:endParaRPr lang="en-US"/>
        </a:p>
      </dgm:t>
    </dgm:pt>
    <dgm:pt modelId="{15BD5B56-25BE-4323-8041-F770FE531E5A}" type="sibTrans" cxnId="{1E78EE08-FB11-43B2-97D5-79E811A57A94}">
      <dgm:prSet/>
      <dgm:spPr/>
      <dgm:t>
        <a:bodyPr/>
        <a:lstStyle/>
        <a:p>
          <a:endParaRPr lang="en-US"/>
        </a:p>
      </dgm:t>
    </dgm:pt>
    <dgm:pt modelId="{ADAC72EC-DBC9-4D97-8A37-45BAA5BEAA13}">
      <dgm:prSet custT="1"/>
      <dgm:spPr/>
      <dgm:t>
        <a:bodyPr/>
        <a:lstStyle/>
        <a:p>
          <a:r>
            <a:rPr lang="en-US" sz="3200" baseline="0" dirty="0">
              <a:latin typeface="Segoe UI" panose="020B0502040204020203" pitchFamily="34" charset="0"/>
            </a:rPr>
            <a:t>Recycling</a:t>
          </a:r>
          <a:endParaRPr lang="en-US" sz="3200" dirty="0">
            <a:latin typeface="Segoe UI" panose="020B0502040204020203" pitchFamily="34" charset="0"/>
          </a:endParaRPr>
        </a:p>
      </dgm:t>
    </dgm:pt>
    <dgm:pt modelId="{BACBD2B5-B05F-48F0-B451-BE24A7578C4D}" type="parTrans" cxnId="{21DC5EFD-1D61-453F-BE88-D4A32EF9C371}">
      <dgm:prSet/>
      <dgm:spPr/>
      <dgm:t>
        <a:bodyPr/>
        <a:lstStyle/>
        <a:p>
          <a:endParaRPr lang="en-US"/>
        </a:p>
      </dgm:t>
    </dgm:pt>
    <dgm:pt modelId="{21800CA3-62E1-4B43-AE69-CFBEE4118557}" type="sibTrans" cxnId="{21DC5EFD-1D61-453F-BE88-D4A32EF9C371}">
      <dgm:prSet/>
      <dgm:spPr/>
      <dgm:t>
        <a:bodyPr/>
        <a:lstStyle/>
        <a:p>
          <a:endParaRPr lang="en-US"/>
        </a:p>
      </dgm:t>
    </dgm:pt>
    <dgm:pt modelId="{7C4B1495-3C33-4E30-8295-319915DAFB3B}" type="pres">
      <dgm:prSet presAssocID="{8761C2B5-A8AB-4291-8C4D-A0449ABE488B}" presName="diagram" presStyleCnt="0">
        <dgm:presLayoutVars>
          <dgm:dir/>
          <dgm:resizeHandles val="exact"/>
        </dgm:presLayoutVars>
      </dgm:prSet>
      <dgm:spPr/>
    </dgm:pt>
    <dgm:pt modelId="{7DE6D0E3-97A4-4666-8012-856C07D64EBD}" type="pres">
      <dgm:prSet presAssocID="{629F70DA-59B6-4E8E-BD22-8B3AAFF1B82B}" presName="node" presStyleLbl="node1" presStyleIdx="0" presStyleCnt="8">
        <dgm:presLayoutVars>
          <dgm:bulletEnabled val="1"/>
        </dgm:presLayoutVars>
      </dgm:prSet>
      <dgm:spPr/>
    </dgm:pt>
    <dgm:pt modelId="{CD5ACA9E-6F6F-4541-AC0F-965D9C7B39F4}" type="pres">
      <dgm:prSet presAssocID="{B1CFA9E7-E3D9-4BE3-AE07-411E1E4BAF42}" presName="sibTrans" presStyleCnt="0"/>
      <dgm:spPr/>
    </dgm:pt>
    <dgm:pt modelId="{0B22390C-F27A-4A2D-AA8A-3D39D8D43BE5}" type="pres">
      <dgm:prSet presAssocID="{CB1B1955-D41D-4185-9B71-32DCA67971A1}" presName="node" presStyleLbl="node1" presStyleIdx="1" presStyleCnt="8">
        <dgm:presLayoutVars>
          <dgm:bulletEnabled val="1"/>
        </dgm:presLayoutVars>
      </dgm:prSet>
      <dgm:spPr/>
    </dgm:pt>
    <dgm:pt modelId="{2FD6F1F9-1A69-492F-AFD7-B2D1ECBC3097}" type="pres">
      <dgm:prSet presAssocID="{651E51A9-BCD6-4B62-B81B-7F9D2600E96C}" presName="sibTrans" presStyleCnt="0"/>
      <dgm:spPr/>
    </dgm:pt>
    <dgm:pt modelId="{9CC61B5C-69FA-4359-B2E7-DE1AAACCEFD6}" type="pres">
      <dgm:prSet presAssocID="{EE896815-6343-4063-9EE8-E0CA8FEF08AD}" presName="node" presStyleLbl="node1" presStyleIdx="2" presStyleCnt="8">
        <dgm:presLayoutVars>
          <dgm:bulletEnabled val="1"/>
        </dgm:presLayoutVars>
      </dgm:prSet>
      <dgm:spPr/>
    </dgm:pt>
    <dgm:pt modelId="{1CC2770C-9452-4686-8704-4EB6C6CAA135}" type="pres">
      <dgm:prSet presAssocID="{8D35D125-BECA-4324-8345-85CE0EC624F9}" presName="sibTrans" presStyleCnt="0"/>
      <dgm:spPr/>
    </dgm:pt>
    <dgm:pt modelId="{340413AF-538D-4A2A-A046-81A60FF9CAF0}" type="pres">
      <dgm:prSet presAssocID="{8BD17EB4-7EA5-416D-AA3D-93E2863E7307}" presName="node" presStyleLbl="node1" presStyleIdx="3" presStyleCnt="8">
        <dgm:presLayoutVars>
          <dgm:bulletEnabled val="1"/>
        </dgm:presLayoutVars>
      </dgm:prSet>
      <dgm:spPr/>
    </dgm:pt>
    <dgm:pt modelId="{847DA5B9-4D68-4C9C-8EB0-27D8CEB6A16C}" type="pres">
      <dgm:prSet presAssocID="{9961A019-9C9D-454C-A19A-70D038B3AF3A}" presName="sibTrans" presStyleCnt="0"/>
      <dgm:spPr/>
    </dgm:pt>
    <dgm:pt modelId="{4724F28B-F242-4B3A-AC44-B6F4C420FE9D}" type="pres">
      <dgm:prSet presAssocID="{4ACA79AB-F691-4A07-AA17-250D61D3298F}" presName="node" presStyleLbl="node1" presStyleIdx="4" presStyleCnt="8">
        <dgm:presLayoutVars>
          <dgm:bulletEnabled val="1"/>
        </dgm:presLayoutVars>
      </dgm:prSet>
      <dgm:spPr/>
    </dgm:pt>
    <dgm:pt modelId="{D6999D43-5AB3-4A45-BA49-F5EA895A4357}" type="pres">
      <dgm:prSet presAssocID="{5E6A2ADC-1A08-46D7-B584-CC899BF49256}" presName="sibTrans" presStyleCnt="0"/>
      <dgm:spPr/>
    </dgm:pt>
    <dgm:pt modelId="{C5E87A78-E83E-47D4-AE61-735804853D7E}" type="pres">
      <dgm:prSet presAssocID="{6588C4F4-8ED8-49EC-8470-20A3F9932C2C}" presName="node" presStyleLbl="node1" presStyleIdx="5" presStyleCnt="8">
        <dgm:presLayoutVars>
          <dgm:bulletEnabled val="1"/>
        </dgm:presLayoutVars>
      </dgm:prSet>
      <dgm:spPr/>
    </dgm:pt>
    <dgm:pt modelId="{29B81668-D475-4EC2-B318-4F96C8760E7F}" type="pres">
      <dgm:prSet presAssocID="{A547E774-D2D4-4B30-851E-F45876AE2474}" presName="sibTrans" presStyleCnt="0"/>
      <dgm:spPr/>
    </dgm:pt>
    <dgm:pt modelId="{8CEC9471-0AAB-4324-B17A-0336FEE682A9}" type="pres">
      <dgm:prSet presAssocID="{3AFD64E9-2B47-486E-8957-DAF9B626954D}" presName="node" presStyleLbl="node1" presStyleIdx="6" presStyleCnt="8">
        <dgm:presLayoutVars>
          <dgm:bulletEnabled val="1"/>
        </dgm:presLayoutVars>
      </dgm:prSet>
      <dgm:spPr/>
    </dgm:pt>
    <dgm:pt modelId="{5E08BF91-EFA4-4872-93CC-C53546224FCD}" type="pres">
      <dgm:prSet presAssocID="{15BD5B56-25BE-4323-8041-F770FE531E5A}" presName="sibTrans" presStyleCnt="0"/>
      <dgm:spPr/>
    </dgm:pt>
    <dgm:pt modelId="{3CDBF8EA-2F68-4335-B52A-1903B672F157}" type="pres">
      <dgm:prSet presAssocID="{ADAC72EC-DBC9-4D97-8A37-45BAA5BEAA13}" presName="node" presStyleLbl="node1" presStyleIdx="7" presStyleCnt="8">
        <dgm:presLayoutVars>
          <dgm:bulletEnabled val="1"/>
        </dgm:presLayoutVars>
      </dgm:prSet>
      <dgm:spPr/>
    </dgm:pt>
  </dgm:ptLst>
  <dgm:cxnLst>
    <dgm:cxn modelId="{1E78EE08-FB11-43B2-97D5-79E811A57A94}" srcId="{8761C2B5-A8AB-4291-8C4D-A0449ABE488B}" destId="{3AFD64E9-2B47-486E-8957-DAF9B626954D}" srcOrd="6" destOrd="0" parTransId="{94277F17-E3A5-4518-930E-D6D1D1559384}" sibTransId="{15BD5B56-25BE-4323-8041-F770FE531E5A}"/>
    <dgm:cxn modelId="{9D36530C-2BBE-495F-820C-952D5B16060E}" srcId="{8761C2B5-A8AB-4291-8C4D-A0449ABE488B}" destId="{4ACA79AB-F691-4A07-AA17-250D61D3298F}" srcOrd="4" destOrd="0" parTransId="{D74B01E0-9DC5-4F88-9575-DC51BB1B8F8D}" sibTransId="{5E6A2ADC-1A08-46D7-B584-CC899BF49256}"/>
    <dgm:cxn modelId="{E4C57D19-5576-4E55-AD2A-ED22E06F5A13}" srcId="{8761C2B5-A8AB-4291-8C4D-A0449ABE488B}" destId="{6588C4F4-8ED8-49EC-8470-20A3F9932C2C}" srcOrd="5" destOrd="0" parTransId="{90653420-A9E4-4EBB-8870-B0DE2CE26530}" sibTransId="{A547E774-D2D4-4B30-851E-F45876AE2474}"/>
    <dgm:cxn modelId="{4EF38824-AAD2-425A-A07C-C38A7FF4332F}" srcId="{8761C2B5-A8AB-4291-8C4D-A0449ABE488B}" destId="{CB1B1955-D41D-4185-9B71-32DCA67971A1}" srcOrd="1" destOrd="0" parTransId="{7A989912-4707-4962-BABC-152CDF4CF93A}" sibTransId="{651E51A9-BCD6-4B62-B81B-7F9D2600E96C}"/>
    <dgm:cxn modelId="{58F1E630-16BE-44D4-BC11-49A52528130F}" type="presOf" srcId="{EE896815-6343-4063-9EE8-E0CA8FEF08AD}" destId="{9CC61B5C-69FA-4359-B2E7-DE1AAACCEFD6}" srcOrd="0" destOrd="0" presId="urn:microsoft.com/office/officeart/2005/8/layout/default"/>
    <dgm:cxn modelId="{60368D3B-3046-4AB6-8117-68C2681F2C32}" srcId="{8761C2B5-A8AB-4291-8C4D-A0449ABE488B}" destId="{8BD17EB4-7EA5-416D-AA3D-93E2863E7307}" srcOrd="3" destOrd="0" parTransId="{6E2AD9F0-088A-48E5-89B7-73CEA486F457}" sibTransId="{9961A019-9C9D-454C-A19A-70D038B3AF3A}"/>
    <dgm:cxn modelId="{517D4765-F385-4964-9053-2CF9A4280F4C}" type="presOf" srcId="{8BD17EB4-7EA5-416D-AA3D-93E2863E7307}" destId="{340413AF-538D-4A2A-A046-81A60FF9CAF0}" srcOrd="0" destOrd="0" presId="urn:microsoft.com/office/officeart/2005/8/layout/default"/>
    <dgm:cxn modelId="{B1B8CC65-4B5A-43D8-B682-F9965610C4DD}" type="presOf" srcId="{3AFD64E9-2B47-486E-8957-DAF9B626954D}" destId="{8CEC9471-0AAB-4324-B17A-0336FEE682A9}" srcOrd="0" destOrd="0" presId="urn:microsoft.com/office/officeart/2005/8/layout/default"/>
    <dgm:cxn modelId="{5C058B6E-BC9C-43DB-918F-165D09AC633F}" type="presOf" srcId="{8761C2B5-A8AB-4291-8C4D-A0449ABE488B}" destId="{7C4B1495-3C33-4E30-8295-319915DAFB3B}" srcOrd="0" destOrd="0" presId="urn:microsoft.com/office/officeart/2005/8/layout/default"/>
    <dgm:cxn modelId="{0587107A-C6C9-43F5-BD89-FE32BE3D6AF2}" type="presOf" srcId="{629F70DA-59B6-4E8E-BD22-8B3AAFF1B82B}" destId="{7DE6D0E3-97A4-4666-8012-856C07D64EBD}" srcOrd="0" destOrd="0" presId="urn:microsoft.com/office/officeart/2005/8/layout/default"/>
    <dgm:cxn modelId="{D2DA4B8C-DF2F-497E-82E6-DB927CE5EB55}" srcId="{8761C2B5-A8AB-4291-8C4D-A0449ABE488B}" destId="{EE896815-6343-4063-9EE8-E0CA8FEF08AD}" srcOrd="2" destOrd="0" parTransId="{AD09DE70-6184-40F4-8D98-B1276BBC722F}" sibTransId="{8D35D125-BECA-4324-8345-85CE0EC624F9}"/>
    <dgm:cxn modelId="{F883EFA1-91F9-4EC9-B316-95680CB0BEA2}" type="presOf" srcId="{4ACA79AB-F691-4A07-AA17-250D61D3298F}" destId="{4724F28B-F242-4B3A-AC44-B6F4C420FE9D}" srcOrd="0" destOrd="0" presId="urn:microsoft.com/office/officeart/2005/8/layout/default"/>
    <dgm:cxn modelId="{0C7D29C3-6E73-418F-BA59-19FB75037FDB}" type="presOf" srcId="{6588C4F4-8ED8-49EC-8470-20A3F9932C2C}" destId="{C5E87A78-E83E-47D4-AE61-735804853D7E}" srcOrd="0" destOrd="0" presId="urn:microsoft.com/office/officeart/2005/8/layout/default"/>
    <dgm:cxn modelId="{084C6BD1-0696-412A-B8D9-2CC4B46C16BA}" type="presOf" srcId="{CB1B1955-D41D-4185-9B71-32DCA67971A1}" destId="{0B22390C-F27A-4A2D-AA8A-3D39D8D43BE5}" srcOrd="0" destOrd="0" presId="urn:microsoft.com/office/officeart/2005/8/layout/default"/>
    <dgm:cxn modelId="{6109B5DD-3BDF-45C3-979F-617B8B0C5559}" type="presOf" srcId="{ADAC72EC-DBC9-4D97-8A37-45BAA5BEAA13}" destId="{3CDBF8EA-2F68-4335-B52A-1903B672F157}" srcOrd="0" destOrd="0" presId="urn:microsoft.com/office/officeart/2005/8/layout/default"/>
    <dgm:cxn modelId="{71ABC1E8-53C9-4B5A-82E1-906805BD9678}" srcId="{8761C2B5-A8AB-4291-8C4D-A0449ABE488B}" destId="{629F70DA-59B6-4E8E-BD22-8B3AAFF1B82B}" srcOrd="0" destOrd="0" parTransId="{BA380C48-9839-4500-80E2-D9A74E47A5E1}" sibTransId="{B1CFA9E7-E3D9-4BE3-AE07-411E1E4BAF42}"/>
    <dgm:cxn modelId="{21DC5EFD-1D61-453F-BE88-D4A32EF9C371}" srcId="{8761C2B5-A8AB-4291-8C4D-A0449ABE488B}" destId="{ADAC72EC-DBC9-4D97-8A37-45BAA5BEAA13}" srcOrd="7" destOrd="0" parTransId="{BACBD2B5-B05F-48F0-B451-BE24A7578C4D}" sibTransId="{21800CA3-62E1-4B43-AE69-CFBEE4118557}"/>
    <dgm:cxn modelId="{F231CD2E-6798-47BF-9EB2-9766CCA2B402}" type="presParOf" srcId="{7C4B1495-3C33-4E30-8295-319915DAFB3B}" destId="{7DE6D0E3-97A4-4666-8012-856C07D64EBD}" srcOrd="0" destOrd="0" presId="urn:microsoft.com/office/officeart/2005/8/layout/default"/>
    <dgm:cxn modelId="{200A9248-2100-40F8-920E-8566A6219D5F}" type="presParOf" srcId="{7C4B1495-3C33-4E30-8295-319915DAFB3B}" destId="{CD5ACA9E-6F6F-4541-AC0F-965D9C7B39F4}" srcOrd="1" destOrd="0" presId="urn:microsoft.com/office/officeart/2005/8/layout/default"/>
    <dgm:cxn modelId="{C1DCFB57-3073-4CDF-BE19-F88634A03800}" type="presParOf" srcId="{7C4B1495-3C33-4E30-8295-319915DAFB3B}" destId="{0B22390C-F27A-4A2D-AA8A-3D39D8D43BE5}" srcOrd="2" destOrd="0" presId="urn:microsoft.com/office/officeart/2005/8/layout/default"/>
    <dgm:cxn modelId="{C3F95471-FF70-4797-BE12-07579E6E3812}" type="presParOf" srcId="{7C4B1495-3C33-4E30-8295-319915DAFB3B}" destId="{2FD6F1F9-1A69-492F-AFD7-B2D1ECBC3097}" srcOrd="3" destOrd="0" presId="urn:microsoft.com/office/officeart/2005/8/layout/default"/>
    <dgm:cxn modelId="{03521512-E0E7-4E94-A5D1-B958DCA74EFC}" type="presParOf" srcId="{7C4B1495-3C33-4E30-8295-319915DAFB3B}" destId="{9CC61B5C-69FA-4359-B2E7-DE1AAACCEFD6}" srcOrd="4" destOrd="0" presId="urn:microsoft.com/office/officeart/2005/8/layout/default"/>
    <dgm:cxn modelId="{4D75FDC1-27F3-45D1-806C-71C4D9E12D5C}" type="presParOf" srcId="{7C4B1495-3C33-4E30-8295-319915DAFB3B}" destId="{1CC2770C-9452-4686-8704-4EB6C6CAA135}" srcOrd="5" destOrd="0" presId="urn:microsoft.com/office/officeart/2005/8/layout/default"/>
    <dgm:cxn modelId="{FD39009F-087D-44ED-A37F-740BD6F39629}" type="presParOf" srcId="{7C4B1495-3C33-4E30-8295-319915DAFB3B}" destId="{340413AF-538D-4A2A-A046-81A60FF9CAF0}" srcOrd="6" destOrd="0" presId="urn:microsoft.com/office/officeart/2005/8/layout/default"/>
    <dgm:cxn modelId="{3A2AC6D5-7EEF-47C8-B578-C721A19392EB}" type="presParOf" srcId="{7C4B1495-3C33-4E30-8295-319915DAFB3B}" destId="{847DA5B9-4D68-4C9C-8EB0-27D8CEB6A16C}" srcOrd="7" destOrd="0" presId="urn:microsoft.com/office/officeart/2005/8/layout/default"/>
    <dgm:cxn modelId="{4BE703C6-995A-45AE-AE44-2B8EC3C76B9B}" type="presParOf" srcId="{7C4B1495-3C33-4E30-8295-319915DAFB3B}" destId="{4724F28B-F242-4B3A-AC44-B6F4C420FE9D}" srcOrd="8" destOrd="0" presId="urn:microsoft.com/office/officeart/2005/8/layout/default"/>
    <dgm:cxn modelId="{4FC9A92E-B25B-438D-8C77-BDD78F02922B}" type="presParOf" srcId="{7C4B1495-3C33-4E30-8295-319915DAFB3B}" destId="{D6999D43-5AB3-4A45-BA49-F5EA895A4357}" srcOrd="9" destOrd="0" presId="urn:microsoft.com/office/officeart/2005/8/layout/default"/>
    <dgm:cxn modelId="{F5E8A856-9E2E-488B-862B-BA640B6B003E}" type="presParOf" srcId="{7C4B1495-3C33-4E30-8295-319915DAFB3B}" destId="{C5E87A78-E83E-47D4-AE61-735804853D7E}" srcOrd="10" destOrd="0" presId="urn:microsoft.com/office/officeart/2005/8/layout/default"/>
    <dgm:cxn modelId="{4974A277-2FA0-4985-8F18-8D34E74FAA5E}" type="presParOf" srcId="{7C4B1495-3C33-4E30-8295-319915DAFB3B}" destId="{29B81668-D475-4EC2-B318-4F96C8760E7F}" srcOrd="11" destOrd="0" presId="urn:microsoft.com/office/officeart/2005/8/layout/default"/>
    <dgm:cxn modelId="{3B84590B-DAFE-4035-9710-7C1A0838CA60}" type="presParOf" srcId="{7C4B1495-3C33-4E30-8295-319915DAFB3B}" destId="{8CEC9471-0AAB-4324-B17A-0336FEE682A9}" srcOrd="12" destOrd="0" presId="urn:microsoft.com/office/officeart/2005/8/layout/default"/>
    <dgm:cxn modelId="{C6F209E7-4E92-4514-91CE-F37DC2624750}" type="presParOf" srcId="{7C4B1495-3C33-4E30-8295-319915DAFB3B}" destId="{5E08BF91-EFA4-4872-93CC-C53546224FCD}" srcOrd="13" destOrd="0" presId="urn:microsoft.com/office/officeart/2005/8/layout/default"/>
    <dgm:cxn modelId="{6E45FAA9-7693-4B29-A72C-B1FCFF1DC8B1}" type="presParOf" srcId="{7C4B1495-3C33-4E30-8295-319915DAFB3B}" destId="{3CDBF8EA-2F68-4335-B52A-1903B672F157}"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1DF0C-A459-49AA-8F8D-34E69D8DBE3E}"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3115880A-D643-408E-B58A-41EB57EA7475}">
      <dgm:prSet custT="1"/>
      <dgm:spPr/>
      <dgm:t>
        <a:bodyPr/>
        <a:lstStyle/>
        <a:p>
          <a:r>
            <a:rPr lang="en-US" sz="2000" baseline="0" dirty="0"/>
            <a:t>Task Scheduling</a:t>
          </a:r>
        </a:p>
      </dgm:t>
    </dgm:pt>
    <dgm:pt modelId="{B3B8722B-11AD-409F-8FC9-85588870BC09}" type="parTrans" cxnId="{8798053C-D903-488D-B846-61AF881457E0}">
      <dgm:prSet/>
      <dgm:spPr/>
      <dgm:t>
        <a:bodyPr/>
        <a:lstStyle/>
        <a:p>
          <a:endParaRPr lang="en-US"/>
        </a:p>
      </dgm:t>
    </dgm:pt>
    <dgm:pt modelId="{1482643A-BE84-48D5-A253-8280707E34A8}" type="sibTrans" cxnId="{8798053C-D903-488D-B846-61AF881457E0}">
      <dgm:prSet/>
      <dgm:spPr/>
      <dgm:t>
        <a:bodyPr/>
        <a:lstStyle/>
        <a:p>
          <a:endParaRPr lang="en-US"/>
        </a:p>
      </dgm:t>
    </dgm:pt>
    <dgm:pt modelId="{4DE331D4-65B5-4482-87BB-F2C83FF63B15}">
      <dgm:prSet custT="1"/>
      <dgm:spPr/>
      <dgm:t>
        <a:bodyPr/>
        <a:lstStyle/>
        <a:p>
          <a:r>
            <a:rPr lang="en-US" sz="2000" baseline="0" dirty="0"/>
            <a:t>Waits and Queues</a:t>
          </a:r>
        </a:p>
      </dgm:t>
    </dgm:pt>
    <dgm:pt modelId="{7D6A6022-527A-4418-8A18-56A5B0EA3107}" type="parTrans" cxnId="{AB362543-AEDE-4D49-A64E-C28B2B54885B}">
      <dgm:prSet/>
      <dgm:spPr/>
      <dgm:t>
        <a:bodyPr/>
        <a:lstStyle/>
        <a:p>
          <a:endParaRPr lang="en-US"/>
        </a:p>
      </dgm:t>
    </dgm:pt>
    <dgm:pt modelId="{04B154D8-6E13-4E6B-8913-5E6E28066FAA}" type="sibTrans" cxnId="{AB362543-AEDE-4D49-A64E-C28B2B54885B}">
      <dgm:prSet/>
      <dgm:spPr/>
      <dgm:t>
        <a:bodyPr/>
        <a:lstStyle/>
        <a:p>
          <a:endParaRPr lang="en-US"/>
        </a:p>
      </dgm:t>
    </dgm:pt>
    <dgm:pt modelId="{536E8374-BBB8-40BB-ACBD-22E490121568}">
      <dgm:prSet custT="1"/>
      <dgm:spPr/>
      <dgm:t>
        <a:bodyPr/>
        <a:lstStyle/>
        <a:p>
          <a:r>
            <a:rPr lang="en-US" sz="2000" baseline="0" dirty="0"/>
            <a:t>Module 1: SQL Server Architecture, Scheduling and Waits</a:t>
          </a:r>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806591ED-52D5-4517-AD26-89C1C66C23F0}">
      <dgm:prSet custT="1"/>
      <dgm:spPr/>
      <dgm:t>
        <a:bodyPr/>
        <a:lstStyle/>
        <a:p>
          <a:r>
            <a:rPr lang="en-US" sz="2000" baseline="0" dirty="0"/>
            <a:t>SQL Server Architecture Overview.</a:t>
          </a:r>
        </a:p>
      </dgm:t>
    </dgm:pt>
    <dgm:pt modelId="{0D1308DA-C261-48A5-9263-15A0E26DA8B1}" type="parTrans" cxnId="{74FB4E38-1F24-4E6C-B45E-B9E553BF827F}">
      <dgm:prSet/>
      <dgm:spPr/>
      <dgm:t>
        <a:bodyPr/>
        <a:lstStyle/>
        <a:p>
          <a:endParaRPr lang="en-US"/>
        </a:p>
      </dgm:t>
    </dgm:pt>
    <dgm:pt modelId="{5A45A41E-8B7D-4088-B7EC-0CF185D801F5}" type="sibTrans" cxnId="{74FB4E38-1F24-4E6C-B45E-B9E553BF827F}">
      <dgm:prSet/>
      <dgm:spPr/>
      <dgm:t>
        <a:bodyPr/>
        <a:lstStyle/>
        <a:p>
          <a:endParaRPr lang="en-US"/>
        </a:p>
      </dgm:t>
    </dgm:pt>
    <dgm:pt modelId="{0735520D-5610-46D1-96B0-56BE2564FD41}">
      <dgm:prSet custT="1"/>
      <dgm:spPr/>
      <dgm:t>
        <a:bodyPr/>
        <a:lstStyle/>
        <a:p>
          <a:r>
            <a:rPr lang="en-US" sz="2000" baseline="0" dirty="0"/>
            <a:t>SQL Server Operating System (SQLOS) Components.</a:t>
          </a:r>
        </a:p>
      </dgm:t>
    </dgm:pt>
    <dgm:pt modelId="{DC3CB489-7928-495F-B566-A98EACED7D87}" type="parTrans" cxnId="{73F76C8A-1264-4E88-B639-C6AFDFC51544}">
      <dgm:prSet/>
      <dgm:spPr/>
      <dgm:t>
        <a:bodyPr/>
        <a:lstStyle/>
        <a:p>
          <a:endParaRPr lang="en-US"/>
        </a:p>
      </dgm:t>
    </dgm:pt>
    <dgm:pt modelId="{4F00D423-3A1E-46F4-938E-09E4F7B27587}" type="sibTrans" cxnId="{73F76C8A-1264-4E88-B639-C6AFDFC51544}">
      <dgm:prSet/>
      <dgm:spPr/>
      <dgm:t>
        <a:bodyPr/>
        <a:lstStyle/>
        <a:p>
          <a:endParaRPr lang="en-US"/>
        </a:p>
      </dgm:t>
    </dgm:pt>
    <dgm:pt modelId="{D2C43ADD-645D-4653-A031-F9AF1AE710EB}">
      <dgm:prSet custT="1"/>
      <dgm:spPr/>
      <dgm:t>
        <a:bodyPr/>
        <a:lstStyle/>
        <a:p>
          <a:r>
            <a:rPr lang="en-US" sz="2000" baseline="0" dirty="0"/>
            <a:t>Understand Common Wait Types</a:t>
          </a:r>
        </a:p>
      </dgm:t>
    </dgm:pt>
    <dgm:pt modelId="{476057C4-B168-4CAD-AC8B-EBC5E822F2FF}" type="parTrans" cxnId="{0C4319B5-9B77-465C-B059-96DA1B2DE682}">
      <dgm:prSet/>
      <dgm:spPr/>
      <dgm:t>
        <a:bodyPr/>
        <a:lstStyle/>
        <a:p>
          <a:endParaRPr lang="en-US"/>
        </a:p>
      </dgm:t>
    </dgm:pt>
    <dgm:pt modelId="{C917878E-437E-49D5-BAFE-7E86A5480E02}" type="sibTrans" cxnId="{0C4319B5-9B77-465C-B059-96DA1B2DE682}">
      <dgm:prSet/>
      <dgm:spPr/>
      <dgm:t>
        <a:bodyPr/>
        <a:lstStyle/>
        <a:p>
          <a:endParaRPr lang="en-US"/>
        </a:p>
      </dgm:t>
    </dgm:pt>
    <dgm:pt modelId="{E00BAA36-E14C-4F02-A2FD-69446F89183C}">
      <dgm:prSet custT="1"/>
      <dgm:spPr/>
      <dgm:t>
        <a:bodyPr/>
        <a:lstStyle/>
        <a:p>
          <a:r>
            <a:rPr lang="en-US" sz="2000" baseline="0" dirty="0"/>
            <a:t>Module 2: </a:t>
          </a:r>
          <a:r>
            <a:rPr lang="en-US" sz="2000" dirty="0"/>
            <a:t>SQL Server Processor and Memory Management</a:t>
          </a:r>
          <a:endParaRPr lang="en-US" sz="2000" baseline="0" dirty="0"/>
        </a:p>
      </dgm:t>
    </dgm:pt>
    <dgm:pt modelId="{8C7FF6F6-B3DB-42AA-A1A7-CAF21C88D380}" type="parTrans" cxnId="{3AAEC96E-4D16-4B18-914E-B33DC78A8BBF}">
      <dgm:prSet/>
      <dgm:spPr/>
      <dgm:t>
        <a:bodyPr/>
        <a:lstStyle/>
        <a:p>
          <a:endParaRPr lang="en-US"/>
        </a:p>
      </dgm:t>
    </dgm:pt>
    <dgm:pt modelId="{9F8A2A30-356F-4DFB-87E3-F7A43B537B50}" type="sibTrans" cxnId="{3AAEC96E-4D16-4B18-914E-B33DC78A8BBF}">
      <dgm:prSet/>
      <dgm:spPr/>
      <dgm:t>
        <a:bodyPr/>
        <a:lstStyle/>
        <a:p>
          <a:endParaRPr lang="en-US"/>
        </a:p>
      </dgm:t>
    </dgm:pt>
    <dgm:pt modelId="{206797F0-B8D4-45A4-9660-71B8F7D47541}">
      <dgm:prSet custT="1"/>
      <dgm:spPr/>
      <dgm:t>
        <a:bodyPr/>
        <a:lstStyle/>
        <a:p>
          <a:r>
            <a:rPr lang="en-US" sz="2000" dirty="0"/>
            <a:t>Processor Management</a:t>
          </a:r>
        </a:p>
      </dgm:t>
    </dgm:pt>
    <dgm:pt modelId="{8A564EF4-8545-490F-A6ED-20030D6362BA}" type="parTrans" cxnId="{21493319-0D98-4566-A215-CDE60434664B}">
      <dgm:prSet/>
      <dgm:spPr/>
      <dgm:t>
        <a:bodyPr/>
        <a:lstStyle/>
        <a:p>
          <a:endParaRPr lang="en-US"/>
        </a:p>
      </dgm:t>
    </dgm:pt>
    <dgm:pt modelId="{22A15CA3-F602-43FD-A0D9-D7603EB31DB3}" type="sibTrans" cxnId="{21493319-0D98-4566-A215-CDE60434664B}">
      <dgm:prSet/>
      <dgm:spPr/>
      <dgm:t>
        <a:bodyPr/>
        <a:lstStyle/>
        <a:p>
          <a:endParaRPr lang="en-US"/>
        </a:p>
      </dgm:t>
    </dgm:pt>
    <dgm:pt modelId="{7FBCD6FF-1027-48F0-A3E1-BF74F563DCD1}">
      <dgm:prSet custT="1"/>
      <dgm:spPr/>
      <dgm:t>
        <a:bodyPr/>
        <a:lstStyle/>
        <a:p>
          <a:r>
            <a:rPr lang="en-US" sz="2000" dirty="0"/>
            <a:t>Non-Uniform Memory Access (NUMA)</a:t>
          </a:r>
        </a:p>
      </dgm:t>
    </dgm:pt>
    <dgm:pt modelId="{27765CFA-B839-4346-9E32-73C8B695D9A6}" type="parTrans" cxnId="{1EFDDBC4-923C-4DA2-A7E2-5C33B8AB51A1}">
      <dgm:prSet/>
      <dgm:spPr/>
      <dgm:t>
        <a:bodyPr/>
        <a:lstStyle/>
        <a:p>
          <a:endParaRPr lang="en-US"/>
        </a:p>
      </dgm:t>
    </dgm:pt>
    <dgm:pt modelId="{2AF95F7B-0A69-40A3-B5DA-4141022F933A}" type="sibTrans" cxnId="{1EFDDBC4-923C-4DA2-A7E2-5C33B8AB51A1}">
      <dgm:prSet/>
      <dgm:spPr/>
      <dgm:t>
        <a:bodyPr/>
        <a:lstStyle/>
        <a:p>
          <a:endParaRPr lang="en-US"/>
        </a:p>
      </dgm:t>
    </dgm:pt>
    <dgm:pt modelId="{CAF1D9E3-4D26-4C68-824B-CAD78CB927A9}">
      <dgm:prSet custT="1"/>
      <dgm:spPr/>
      <dgm:t>
        <a:bodyPr/>
        <a:lstStyle/>
        <a:p>
          <a:r>
            <a:rPr lang="en-US" sz="2000" dirty="0"/>
            <a:t>SQL Server Memory Management</a:t>
          </a:r>
        </a:p>
      </dgm:t>
    </dgm:pt>
    <dgm:pt modelId="{E2B78F9B-33C8-47F4-AC72-51FE3714413A}" type="parTrans" cxnId="{1DDE3EB1-60A3-408C-B2B8-A8CA59A22159}">
      <dgm:prSet/>
      <dgm:spPr/>
      <dgm:t>
        <a:bodyPr/>
        <a:lstStyle/>
        <a:p>
          <a:endParaRPr lang="en-US"/>
        </a:p>
      </dgm:t>
    </dgm:pt>
    <dgm:pt modelId="{9187E3DD-066C-4CB0-9D45-8180BC3FE546}" type="sibTrans" cxnId="{1DDE3EB1-60A3-408C-B2B8-A8CA59A22159}">
      <dgm:prSet/>
      <dgm:spPr/>
      <dgm:t>
        <a:bodyPr/>
        <a:lstStyle/>
        <a:p>
          <a:endParaRPr lang="en-US"/>
        </a:p>
      </dgm:t>
    </dgm:pt>
    <dgm:pt modelId="{926E147C-3089-41A4-8DA6-A9BB3EACE82B}">
      <dgm:prSet custT="1"/>
      <dgm:spPr/>
      <dgm:t>
        <a:bodyPr/>
        <a:lstStyle/>
        <a:p>
          <a:r>
            <a:rPr lang="en-US" sz="2000" dirty="0"/>
            <a:t>Buffer Pool Management</a:t>
          </a:r>
        </a:p>
      </dgm:t>
    </dgm:pt>
    <dgm:pt modelId="{7B1FED16-BA97-4AB7-A37C-B9728130FE70}" type="parTrans" cxnId="{1A2DC7DA-8C07-4E57-A116-72C3719C8781}">
      <dgm:prSet/>
      <dgm:spPr/>
      <dgm:t>
        <a:bodyPr/>
        <a:lstStyle/>
        <a:p>
          <a:endParaRPr lang="en-US"/>
        </a:p>
      </dgm:t>
    </dgm:pt>
    <dgm:pt modelId="{B1360B85-BDB0-4B4A-912C-A9AF89BDD3A5}" type="sibTrans" cxnId="{1A2DC7DA-8C07-4E57-A116-72C3719C8781}">
      <dgm:prSet/>
      <dgm:spPr/>
      <dgm:t>
        <a:bodyPr/>
        <a:lstStyle/>
        <a:p>
          <a:endParaRPr lang="en-US"/>
        </a:p>
      </dgm:t>
    </dgm:pt>
    <dgm:pt modelId="{F6B06BB3-6327-4F8D-A59A-8DBF269FE666}">
      <dgm:prSet custT="1"/>
      <dgm:spPr/>
      <dgm:t>
        <a:bodyPr/>
        <a:lstStyle/>
        <a:p>
          <a:r>
            <a:rPr lang="en-US" sz="2000" dirty="0"/>
            <a:t>Troubleshooting SQL Server memory</a:t>
          </a:r>
        </a:p>
      </dgm:t>
    </dgm:pt>
    <dgm:pt modelId="{5A7F4347-14C6-45B7-875C-23E8B84CF6F8}" type="parTrans" cxnId="{202414BF-5384-4B7B-A3AA-16C0E60E4D9F}">
      <dgm:prSet/>
      <dgm:spPr/>
      <dgm:t>
        <a:bodyPr/>
        <a:lstStyle/>
        <a:p>
          <a:endParaRPr lang="en-US"/>
        </a:p>
      </dgm:t>
    </dgm:pt>
    <dgm:pt modelId="{A09EF634-79C7-4111-A85B-45AC25FB96BF}" type="sibTrans" cxnId="{202414BF-5384-4B7B-A3AA-16C0E60E4D9F}">
      <dgm:prSet/>
      <dgm:spPr/>
      <dgm:t>
        <a:bodyPr/>
        <a:lstStyle/>
        <a:p>
          <a:endParaRPr lang="en-US"/>
        </a:p>
      </dgm:t>
    </dgm:pt>
    <dgm:pt modelId="{061A21E7-2CFA-470D-B8CA-E8EA6991B897}" type="pres">
      <dgm:prSet presAssocID="{01E1DF0C-A459-49AA-8F8D-34E69D8DBE3E}" presName="Name0" presStyleCnt="0">
        <dgm:presLayoutVars>
          <dgm:dir/>
          <dgm:animLvl val="lvl"/>
          <dgm:resizeHandles val="exact"/>
        </dgm:presLayoutVars>
      </dgm:prSet>
      <dgm:spPr/>
    </dgm:pt>
    <dgm:pt modelId="{3EB4EED9-7488-4EF1-B083-E2CD574B7565}" type="pres">
      <dgm:prSet presAssocID="{536E8374-BBB8-40BB-ACBD-22E490121568}" presName="linNode" presStyleCnt="0"/>
      <dgm:spPr/>
    </dgm:pt>
    <dgm:pt modelId="{2E6573D3-A2E0-43F3-AD2A-8573D29F7E75}" type="pres">
      <dgm:prSet presAssocID="{536E8374-BBB8-40BB-ACBD-22E490121568}" presName="parTx" presStyleLbl="revTx" presStyleIdx="0" presStyleCnt="2">
        <dgm:presLayoutVars>
          <dgm:chMax val="1"/>
          <dgm:bulletEnabled val="1"/>
        </dgm:presLayoutVars>
      </dgm:prSet>
      <dgm:spPr/>
    </dgm:pt>
    <dgm:pt modelId="{14F7419E-0418-491B-9093-5B5CFC78C305}" type="pres">
      <dgm:prSet presAssocID="{536E8374-BBB8-40BB-ACBD-22E490121568}" presName="bracket" presStyleLbl="parChTrans1D1" presStyleIdx="0" presStyleCnt="2"/>
      <dgm:spPr/>
    </dgm:pt>
    <dgm:pt modelId="{E2FA4189-8A86-4976-BA24-D876752F53C5}" type="pres">
      <dgm:prSet presAssocID="{536E8374-BBB8-40BB-ACBD-22E490121568}" presName="spH" presStyleCnt="0"/>
      <dgm:spPr/>
    </dgm:pt>
    <dgm:pt modelId="{1CF5CD5D-5133-46BC-8090-D631500D457A}" type="pres">
      <dgm:prSet presAssocID="{536E8374-BBB8-40BB-ACBD-22E490121568}" presName="desTx" presStyleLbl="node1" presStyleIdx="0" presStyleCnt="2">
        <dgm:presLayoutVars>
          <dgm:bulletEnabled val="1"/>
        </dgm:presLayoutVars>
      </dgm:prSet>
      <dgm:spPr/>
    </dgm:pt>
    <dgm:pt modelId="{B9411872-6A11-49CD-895B-DBDF22B00EAA}" type="pres">
      <dgm:prSet presAssocID="{498D443E-B527-4599-8CF9-E9DC179B3CE3}" presName="spV" presStyleCnt="0"/>
      <dgm:spPr/>
    </dgm:pt>
    <dgm:pt modelId="{DB0B9B87-345B-47EB-B41B-C51601F29A02}" type="pres">
      <dgm:prSet presAssocID="{E00BAA36-E14C-4F02-A2FD-69446F89183C}" presName="linNode" presStyleCnt="0"/>
      <dgm:spPr/>
    </dgm:pt>
    <dgm:pt modelId="{30C026B1-666F-4F72-8DE5-34DCCEF63896}" type="pres">
      <dgm:prSet presAssocID="{E00BAA36-E14C-4F02-A2FD-69446F89183C}" presName="parTx" presStyleLbl="revTx" presStyleIdx="1" presStyleCnt="2">
        <dgm:presLayoutVars>
          <dgm:chMax val="1"/>
          <dgm:bulletEnabled val="1"/>
        </dgm:presLayoutVars>
      </dgm:prSet>
      <dgm:spPr/>
    </dgm:pt>
    <dgm:pt modelId="{356126C1-E1AB-4092-9EF5-C197B2B65B26}" type="pres">
      <dgm:prSet presAssocID="{E00BAA36-E14C-4F02-A2FD-69446F89183C}" presName="bracket" presStyleLbl="parChTrans1D1" presStyleIdx="1" presStyleCnt="2"/>
      <dgm:spPr/>
    </dgm:pt>
    <dgm:pt modelId="{FDF3C5B0-96E1-43C1-A68E-212505BBDDEF}" type="pres">
      <dgm:prSet presAssocID="{E00BAA36-E14C-4F02-A2FD-69446F89183C}" presName="spH" presStyleCnt="0"/>
      <dgm:spPr/>
    </dgm:pt>
    <dgm:pt modelId="{E87C83DC-D58D-40C1-8C12-A766B3EBB10C}" type="pres">
      <dgm:prSet presAssocID="{E00BAA36-E14C-4F02-A2FD-69446F89183C}" presName="desTx" presStyleLbl="node1" presStyleIdx="1" presStyleCnt="2">
        <dgm:presLayoutVars>
          <dgm:bulletEnabled val="1"/>
        </dgm:presLayoutVars>
      </dgm:prSet>
      <dgm:spPr/>
    </dgm:pt>
  </dgm:ptLst>
  <dgm:cxnLst>
    <dgm:cxn modelId="{58207300-1ADD-40A0-96F5-F59F0C27B3E2}" srcId="{01E1DF0C-A459-49AA-8F8D-34E69D8DBE3E}" destId="{536E8374-BBB8-40BB-ACBD-22E490121568}" srcOrd="0" destOrd="0" parTransId="{46BC945B-9D04-47F7-8FCB-0B9C69EF93ED}" sibTransId="{498D443E-B527-4599-8CF9-E9DC179B3CE3}"/>
    <dgm:cxn modelId="{1773370D-EFB6-4F8F-B398-5302F7216285}" type="presOf" srcId="{01E1DF0C-A459-49AA-8F8D-34E69D8DBE3E}" destId="{061A21E7-2CFA-470D-B8CA-E8EA6991B897}" srcOrd="0" destOrd="0" presId="urn:diagrams.loki3.com/BracketList"/>
    <dgm:cxn modelId="{21493319-0D98-4566-A215-CDE60434664B}" srcId="{E00BAA36-E14C-4F02-A2FD-69446F89183C}" destId="{206797F0-B8D4-45A4-9660-71B8F7D47541}" srcOrd="0" destOrd="0" parTransId="{8A564EF4-8545-490F-A6ED-20030D6362BA}" sibTransId="{22A15CA3-F602-43FD-A0D9-D7603EB31DB3}"/>
    <dgm:cxn modelId="{8B57F32F-C547-4B14-8ADD-4D38FD34E9D0}" type="presOf" srcId="{E00BAA36-E14C-4F02-A2FD-69446F89183C}" destId="{30C026B1-666F-4F72-8DE5-34DCCEF63896}" srcOrd="0" destOrd="0" presId="urn:diagrams.loki3.com/BracketList"/>
    <dgm:cxn modelId="{9B0F6D34-B567-45BE-9917-07BE5D708861}" type="presOf" srcId="{7FBCD6FF-1027-48F0-A3E1-BF74F563DCD1}" destId="{E87C83DC-D58D-40C1-8C12-A766B3EBB10C}" srcOrd="0" destOrd="1" presId="urn:diagrams.loki3.com/BracketList"/>
    <dgm:cxn modelId="{74FB4E38-1F24-4E6C-B45E-B9E553BF827F}" srcId="{536E8374-BBB8-40BB-ACBD-22E490121568}" destId="{806591ED-52D5-4517-AD26-89C1C66C23F0}" srcOrd="0" destOrd="0" parTransId="{0D1308DA-C261-48A5-9263-15A0E26DA8B1}" sibTransId="{5A45A41E-8B7D-4088-B7EC-0CF185D801F5}"/>
    <dgm:cxn modelId="{8798053C-D903-488D-B846-61AF881457E0}" srcId="{536E8374-BBB8-40BB-ACBD-22E490121568}" destId="{3115880A-D643-408E-B58A-41EB57EA7475}" srcOrd="2" destOrd="0" parTransId="{B3B8722B-11AD-409F-8FC9-85588870BC09}" sibTransId="{1482643A-BE84-48D5-A253-8280707E34A8}"/>
    <dgm:cxn modelId="{6E2C5761-D19F-4AC6-A7EB-5D70DB61AA25}" type="presOf" srcId="{536E8374-BBB8-40BB-ACBD-22E490121568}" destId="{2E6573D3-A2E0-43F3-AD2A-8573D29F7E75}" srcOrd="0" destOrd="0" presId="urn:diagrams.loki3.com/BracketList"/>
    <dgm:cxn modelId="{AB362543-AEDE-4D49-A64E-C28B2B54885B}" srcId="{536E8374-BBB8-40BB-ACBD-22E490121568}" destId="{4DE331D4-65B5-4482-87BB-F2C83FF63B15}" srcOrd="3" destOrd="0" parTransId="{7D6A6022-527A-4418-8A18-56A5B0EA3107}" sibTransId="{04B154D8-6E13-4E6B-8913-5E6E28066FAA}"/>
    <dgm:cxn modelId="{01AB1466-A846-47D7-9DEE-BBC8906CBFF6}" type="presOf" srcId="{F6B06BB3-6327-4F8D-A59A-8DBF269FE666}" destId="{E87C83DC-D58D-40C1-8C12-A766B3EBB10C}" srcOrd="0" destOrd="4" presId="urn:diagrams.loki3.com/BracketList"/>
    <dgm:cxn modelId="{AE9F846D-4858-48FC-AA38-B306482AB28E}" type="presOf" srcId="{CAF1D9E3-4D26-4C68-824B-CAD78CB927A9}" destId="{E87C83DC-D58D-40C1-8C12-A766B3EBB10C}" srcOrd="0" destOrd="2" presId="urn:diagrams.loki3.com/BracketList"/>
    <dgm:cxn modelId="{3AAEC96E-4D16-4B18-914E-B33DC78A8BBF}" srcId="{01E1DF0C-A459-49AA-8F8D-34E69D8DBE3E}" destId="{E00BAA36-E14C-4F02-A2FD-69446F89183C}" srcOrd="1" destOrd="0" parTransId="{8C7FF6F6-B3DB-42AA-A1A7-CAF21C88D380}" sibTransId="{9F8A2A30-356F-4DFB-87E3-F7A43B537B50}"/>
    <dgm:cxn modelId="{39D1B080-87E5-4B75-882A-EFBFFC5CA6DF}" type="presOf" srcId="{926E147C-3089-41A4-8DA6-A9BB3EACE82B}" destId="{E87C83DC-D58D-40C1-8C12-A766B3EBB10C}" srcOrd="0" destOrd="3" presId="urn:diagrams.loki3.com/BracketList"/>
    <dgm:cxn modelId="{73F76C8A-1264-4E88-B639-C6AFDFC51544}" srcId="{536E8374-BBB8-40BB-ACBD-22E490121568}" destId="{0735520D-5610-46D1-96B0-56BE2564FD41}" srcOrd="1" destOrd="0" parTransId="{DC3CB489-7928-495F-B566-A98EACED7D87}" sibTransId="{4F00D423-3A1E-46F4-938E-09E4F7B27587}"/>
    <dgm:cxn modelId="{5C8F8C90-D02A-46E1-89FF-7D819FC7D178}" type="presOf" srcId="{3115880A-D643-408E-B58A-41EB57EA7475}" destId="{1CF5CD5D-5133-46BC-8090-D631500D457A}" srcOrd="0" destOrd="2" presId="urn:diagrams.loki3.com/BracketList"/>
    <dgm:cxn modelId="{286977AE-65C8-45AB-90EA-2E810939E194}" type="presOf" srcId="{806591ED-52D5-4517-AD26-89C1C66C23F0}" destId="{1CF5CD5D-5133-46BC-8090-D631500D457A}" srcOrd="0" destOrd="0" presId="urn:diagrams.loki3.com/BracketList"/>
    <dgm:cxn modelId="{1DDE3EB1-60A3-408C-B2B8-A8CA59A22159}" srcId="{E00BAA36-E14C-4F02-A2FD-69446F89183C}" destId="{CAF1D9E3-4D26-4C68-824B-CAD78CB927A9}" srcOrd="2" destOrd="0" parTransId="{E2B78F9B-33C8-47F4-AC72-51FE3714413A}" sibTransId="{9187E3DD-066C-4CB0-9D45-8180BC3FE546}"/>
    <dgm:cxn modelId="{0C4319B5-9B77-465C-B059-96DA1B2DE682}" srcId="{536E8374-BBB8-40BB-ACBD-22E490121568}" destId="{D2C43ADD-645D-4653-A031-F9AF1AE710EB}" srcOrd="4" destOrd="0" parTransId="{476057C4-B168-4CAD-AC8B-EBC5E822F2FF}" sibTransId="{C917878E-437E-49D5-BAFE-7E86A5480E02}"/>
    <dgm:cxn modelId="{202414BF-5384-4B7B-A3AA-16C0E60E4D9F}" srcId="{E00BAA36-E14C-4F02-A2FD-69446F89183C}" destId="{F6B06BB3-6327-4F8D-A59A-8DBF269FE666}" srcOrd="4" destOrd="0" parTransId="{5A7F4347-14C6-45B7-875C-23E8B84CF6F8}" sibTransId="{A09EF634-79C7-4111-A85B-45AC25FB96BF}"/>
    <dgm:cxn modelId="{399D79C4-3CE0-4711-9FC3-7CEAA9B660EE}" type="presOf" srcId="{206797F0-B8D4-45A4-9660-71B8F7D47541}" destId="{E87C83DC-D58D-40C1-8C12-A766B3EBB10C}" srcOrd="0" destOrd="0" presId="urn:diagrams.loki3.com/BracketList"/>
    <dgm:cxn modelId="{1EFDDBC4-923C-4DA2-A7E2-5C33B8AB51A1}" srcId="{E00BAA36-E14C-4F02-A2FD-69446F89183C}" destId="{7FBCD6FF-1027-48F0-A3E1-BF74F563DCD1}" srcOrd="1" destOrd="0" parTransId="{27765CFA-B839-4346-9E32-73C8B695D9A6}" sibTransId="{2AF95F7B-0A69-40A3-B5DA-4141022F933A}"/>
    <dgm:cxn modelId="{3E9DDDCB-8341-4CB6-8D4A-CC7D2DA4ED82}" type="presOf" srcId="{0735520D-5610-46D1-96B0-56BE2564FD41}" destId="{1CF5CD5D-5133-46BC-8090-D631500D457A}" srcOrd="0" destOrd="1" presId="urn:diagrams.loki3.com/BracketList"/>
    <dgm:cxn modelId="{3D33B8D6-51C0-44D9-9CC8-876A775EC5B3}" type="presOf" srcId="{D2C43ADD-645D-4653-A031-F9AF1AE710EB}" destId="{1CF5CD5D-5133-46BC-8090-D631500D457A}" srcOrd="0" destOrd="4" presId="urn:diagrams.loki3.com/BracketList"/>
    <dgm:cxn modelId="{1A2DC7DA-8C07-4E57-A116-72C3719C8781}" srcId="{E00BAA36-E14C-4F02-A2FD-69446F89183C}" destId="{926E147C-3089-41A4-8DA6-A9BB3EACE82B}" srcOrd="3" destOrd="0" parTransId="{7B1FED16-BA97-4AB7-A37C-B9728130FE70}" sibTransId="{B1360B85-BDB0-4B4A-912C-A9AF89BDD3A5}"/>
    <dgm:cxn modelId="{9E714BF3-9B70-4271-B4E7-7B0D7D4BBEA6}" type="presOf" srcId="{4DE331D4-65B5-4482-87BB-F2C83FF63B15}" destId="{1CF5CD5D-5133-46BC-8090-D631500D457A}" srcOrd="0" destOrd="3" presId="urn:diagrams.loki3.com/BracketList"/>
    <dgm:cxn modelId="{462668FA-312D-418F-AE3B-D95B1A3C5FC1}" type="presParOf" srcId="{061A21E7-2CFA-470D-B8CA-E8EA6991B897}" destId="{3EB4EED9-7488-4EF1-B083-E2CD574B7565}" srcOrd="0" destOrd="0" presId="urn:diagrams.loki3.com/BracketList"/>
    <dgm:cxn modelId="{B4A16A82-7D92-49C2-B7B2-C04715A76155}" type="presParOf" srcId="{3EB4EED9-7488-4EF1-B083-E2CD574B7565}" destId="{2E6573D3-A2E0-43F3-AD2A-8573D29F7E75}" srcOrd="0" destOrd="0" presId="urn:diagrams.loki3.com/BracketList"/>
    <dgm:cxn modelId="{2FE709D1-E97F-4708-B943-F2649CCA9569}" type="presParOf" srcId="{3EB4EED9-7488-4EF1-B083-E2CD574B7565}" destId="{14F7419E-0418-491B-9093-5B5CFC78C305}" srcOrd="1" destOrd="0" presId="urn:diagrams.loki3.com/BracketList"/>
    <dgm:cxn modelId="{73BEA231-AF06-4C64-990D-CA46FDC6A0E8}" type="presParOf" srcId="{3EB4EED9-7488-4EF1-B083-E2CD574B7565}" destId="{E2FA4189-8A86-4976-BA24-D876752F53C5}" srcOrd="2" destOrd="0" presId="urn:diagrams.loki3.com/BracketList"/>
    <dgm:cxn modelId="{8887E9CC-56ED-426A-B94D-8CD2F35E99CF}" type="presParOf" srcId="{3EB4EED9-7488-4EF1-B083-E2CD574B7565}" destId="{1CF5CD5D-5133-46BC-8090-D631500D457A}" srcOrd="3" destOrd="0" presId="urn:diagrams.loki3.com/BracketList"/>
    <dgm:cxn modelId="{D472805D-D5F7-4CB6-8D3E-55C6E89FE843}" type="presParOf" srcId="{061A21E7-2CFA-470D-B8CA-E8EA6991B897}" destId="{B9411872-6A11-49CD-895B-DBDF22B00EAA}" srcOrd="1" destOrd="0" presId="urn:diagrams.loki3.com/BracketList"/>
    <dgm:cxn modelId="{8228A972-32B5-459B-B17F-1B360A5426BD}" type="presParOf" srcId="{061A21E7-2CFA-470D-B8CA-E8EA6991B897}" destId="{DB0B9B87-345B-47EB-B41B-C51601F29A02}" srcOrd="2" destOrd="0" presId="urn:diagrams.loki3.com/BracketList"/>
    <dgm:cxn modelId="{7F0EF3D4-8079-4EF3-A061-E8C58C33B807}" type="presParOf" srcId="{DB0B9B87-345B-47EB-B41B-C51601F29A02}" destId="{30C026B1-666F-4F72-8DE5-34DCCEF63896}" srcOrd="0" destOrd="0" presId="urn:diagrams.loki3.com/BracketList"/>
    <dgm:cxn modelId="{6D6E57A7-3626-486B-81C2-70279EE9C721}" type="presParOf" srcId="{DB0B9B87-345B-47EB-B41B-C51601F29A02}" destId="{356126C1-E1AB-4092-9EF5-C197B2B65B26}" srcOrd="1" destOrd="0" presId="urn:diagrams.loki3.com/BracketList"/>
    <dgm:cxn modelId="{48C61845-BB6B-410D-BDBF-402CB9FAA739}" type="presParOf" srcId="{DB0B9B87-345B-47EB-B41B-C51601F29A02}" destId="{FDF3C5B0-96E1-43C1-A68E-212505BBDDEF}" srcOrd="2" destOrd="0" presId="urn:diagrams.loki3.com/BracketList"/>
    <dgm:cxn modelId="{92025723-1F96-4451-BFC7-836208353CBE}" type="presParOf" srcId="{DB0B9B87-345B-47EB-B41B-C51601F29A02}" destId="{E87C83DC-D58D-40C1-8C12-A766B3EBB10C}" srcOrd="3" destOrd="0" presId="urn:diagrams.loki3.com/Bracke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diagrams.loki3.com/BracketList" loCatId="list" qsTypeId="urn:microsoft.com/office/officeart/2005/8/quickstyle/simple2" qsCatId="simple" csTypeId="urn:microsoft.com/office/officeart/2005/8/colors/accent0_2" csCatId="mainScheme" phldr="1"/>
      <dgm:spPr/>
      <dgm:t>
        <a:bodyPr/>
        <a:lstStyle/>
        <a:p>
          <a:endParaRPr lang="en-US"/>
        </a:p>
      </dgm:t>
    </dgm:pt>
    <dgm:pt modelId="{536E8374-BBB8-40BB-ACBD-22E490121568}">
      <dgm:prSet custT="1"/>
      <dgm:spPr/>
      <dgm:t>
        <a:bodyPr/>
        <a:lstStyle/>
        <a:p>
          <a:r>
            <a:rPr lang="en-US" sz="2000" dirty="0"/>
            <a:t>Module 3: SQL Server I/O and Database Structure</a:t>
          </a:r>
          <a:endParaRPr lang="en-US" sz="2000" baseline="0" dirty="0"/>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EF51F51F-67EC-4E4B-AAC5-E0AEFD2BCB11}">
      <dgm:prSet custT="1"/>
      <dgm:spPr/>
      <dgm:t>
        <a:bodyPr/>
        <a:lstStyle/>
        <a:p>
          <a:r>
            <a:rPr lang="en-US" sz="2000" dirty="0"/>
            <a:t>TempDB File Structure</a:t>
          </a:r>
        </a:p>
      </dgm:t>
    </dgm:pt>
    <dgm:pt modelId="{A28056C8-EB41-45F2-A194-A7F5383F5BA9}" type="parTrans" cxnId="{F51D3FED-311D-45CB-952D-A387F0A270A5}">
      <dgm:prSet/>
      <dgm:spPr/>
      <dgm:t>
        <a:bodyPr/>
        <a:lstStyle/>
        <a:p>
          <a:endParaRPr lang="en-US"/>
        </a:p>
      </dgm:t>
    </dgm:pt>
    <dgm:pt modelId="{FEDAC439-E668-424E-83B6-DF6F057ADD38}" type="sibTrans" cxnId="{F51D3FED-311D-45CB-952D-A387F0A270A5}">
      <dgm:prSet/>
      <dgm:spPr/>
      <dgm:t>
        <a:bodyPr/>
        <a:lstStyle/>
        <a:p>
          <a:endParaRPr lang="en-US"/>
        </a:p>
      </dgm:t>
    </dgm:pt>
    <dgm:pt modelId="{E6A4D517-F51B-4FFC-9D4C-9B7FEB0485C1}">
      <dgm:prSet custT="1"/>
      <dgm:spPr/>
      <dgm:t>
        <a:bodyPr/>
        <a:lstStyle/>
        <a:p>
          <a:r>
            <a:rPr lang="en-US" sz="2000" baseline="0" dirty="0"/>
            <a:t>SQL Server Transactions</a:t>
          </a:r>
        </a:p>
      </dgm:t>
    </dgm:pt>
    <dgm:pt modelId="{4575CBDD-B35B-4E73-9307-0DFC2310C57B}" type="parTrans" cxnId="{DA9CF1E1-BB4D-4CEF-A925-8C59555A60CD}">
      <dgm:prSet/>
      <dgm:spPr/>
      <dgm:t>
        <a:bodyPr/>
        <a:lstStyle/>
        <a:p>
          <a:endParaRPr lang="en-US"/>
        </a:p>
      </dgm:t>
    </dgm:pt>
    <dgm:pt modelId="{072A4AE3-C61F-446D-B43C-859B7DA6C096}" type="sibTrans" cxnId="{DA9CF1E1-BB4D-4CEF-A925-8C59555A60CD}">
      <dgm:prSet/>
      <dgm:spPr/>
      <dgm:t>
        <a:bodyPr/>
        <a:lstStyle/>
        <a:p>
          <a:endParaRPr lang="en-US"/>
        </a:p>
      </dgm:t>
    </dgm:pt>
    <dgm:pt modelId="{1F891A1C-7E36-485E-9115-5F51A3F78549}">
      <dgm:prSet custT="1"/>
      <dgm:spPr/>
      <dgm:t>
        <a:bodyPr/>
        <a:lstStyle/>
        <a:p>
          <a:r>
            <a:rPr lang="en-US" sz="2000" baseline="0" dirty="0"/>
            <a:t>Module 4: SQL Server Transactions and Concurrency</a:t>
          </a:r>
          <a:endParaRPr lang="en-US" sz="2000" dirty="0"/>
        </a:p>
      </dgm:t>
    </dgm:pt>
    <dgm:pt modelId="{1848A4E6-E545-4816-A381-1200986F214C}" type="parTrans" cxnId="{79AA2ABC-7832-4287-89A8-9A65C38BDFB6}">
      <dgm:prSet/>
      <dgm:spPr/>
      <dgm:t>
        <a:bodyPr/>
        <a:lstStyle/>
        <a:p>
          <a:endParaRPr lang="en-US"/>
        </a:p>
      </dgm:t>
    </dgm:pt>
    <dgm:pt modelId="{B9C69D8B-CBFE-4E89-BFBF-3E1660368D4E}" type="sibTrans" cxnId="{79AA2ABC-7832-4287-89A8-9A65C38BDFB6}">
      <dgm:prSet/>
      <dgm:spPr/>
      <dgm:t>
        <a:bodyPr/>
        <a:lstStyle/>
        <a:p>
          <a:endParaRPr lang="en-US"/>
        </a:p>
      </dgm:t>
    </dgm:pt>
    <dgm:pt modelId="{A4873E80-D1D0-478F-9FBB-AE894D4B76D8}">
      <dgm:prSet custT="1"/>
      <dgm:spPr/>
      <dgm:t>
        <a:bodyPr/>
        <a:lstStyle/>
        <a:p>
          <a:r>
            <a:rPr lang="en-US" sz="2000" baseline="0" dirty="0"/>
            <a:t>Transaction Isolation Levels</a:t>
          </a:r>
        </a:p>
      </dgm:t>
    </dgm:pt>
    <dgm:pt modelId="{F2BF2308-52B2-4203-A2C3-191F7E7D7C3A}" type="parTrans" cxnId="{A712D815-9F40-43CB-B5A3-2D88E2DBDE20}">
      <dgm:prSet/>
      <dgm:spPr/>
      <dgm:t>
        <a:bodyPr/>
        <a:lstStyle/>
        <a:p>
          <a:endParaRPr lang="en-US"/>
        </a:p>
      </dgm:t>
    </dgm:pt>
    <dgm:pt modelId="{EFE33FBA-8CBF-40C8-971D-90AED2652732}" type="sibTrans" cxnId="{A712D815-9F40-43CB-B5A3-2D88E2DBDE20}">
      <dgm:prSet/>
      <dgm:spPr/>
      <dgm:t>
        <a:bodyPr/>
        <a:lstStyle/>
        <a:p>
          <a:endParaRPr lang="en-US"/>
        </a:p>
      </dgm:t>
    </dgm:pt>
    <dgm:pt modelId="{10F62DD1-36E4-4FA4-AA52-2BFA51684385}">
      <dgm:prSet custT="1"/>
      <dgm:spPr/>
      <dgm:t>
        <a:bodyPr/>
        <a:lstStyle/>
        <a:p>
          <a:r>
            <a:rPr lang="en-US" sz="2000" baseline="0" dirty="0"/>
            <a:t>Locking Compatibility</a:t>
          </a:r>
        </a:p>
      </dgm:t>
    </dgm:pt>
    <dgm:pt modelId="{18B2D454-9543-4665-A2D7-CAE595C11F45}" type="parTrans" cxnId="{EBA76EF4-7ED2-4CD7-A00C-8BEEAC2878DA}">
      <dgm:prSet/>
      <dgm:spPr/>
      <dgm:t>
        <a:bodyPr/>
        <a:lstStyle/>
        <a:p>
          <a:endParaRPr lang="en-US"/>
        </a:p>
      </dgm:t>
    </dgm:pt>
    <dgm:pt modelId="{3B323AD5-CBB2-44EF-AB37-5800B163977C}" type="sibTrans" cxnId="{EBA76EF4-7ED2-4CD7-A00C-8BEEAC2878DA}">
      <dgm:prSet/>
      <dgm:spPr/>
      <dgm:t>
        <a:bodyPr/>
        <a:lstStyle/>
        <a:p>
          <a:endParaRPr lang="en-US"/>
        </a:p>
      </dgm:t>
    </dgm:pt>
    <dgm:pt modelId="{E7155097-115B-448B-A137-BF99CAC83317}">
      <dgm:prSet custT="1"/>
      <dgm:spPr/>
      <dgm:t>
        <a:bodyPr/>
        <a:lstStyle/>
        <a:p>
          <a:r>
            <a:rPr lang="en-US" sz="2000" baseline="0"/>
            <a:t>Locking Granularity</a:t>
          </a:r>
          <a:endParaRPr lang="en-US" sz="2000" baseline="0" dirty="0"/>
        </a:p>
      </dgm:t>
    </dgm:pt>
    <dgm:pt modelId="{8722F3A1-3FB6-4366-828E-EE89D9528A6E}" type="parTrans" cxnId="{A156E3BC-11DD-497B-8FF6-BFB2D74A157C}">
      <dgm:prSet/>
      <dgm:spPr/>
      <dgm:t>
        <a:bodyPr/>
        <a:lstStyle/>
        <a:p>
          <a:endParaRPr lang="en-US"/>
        </a:p>
      </dgm:t>
    </dgm:pt>
    <dgm:pt modelId="{180A9ECA-AC1B-4E24-ACED-248800449CF8}" type="sibTrans" cxnId="{A156E3BC-11DD-497B-8FF6-BFB2D74A157C}">
      <dgm:prSet/>
      <dgm:spPr/>
      <dgm:t>
        <a:bodyPr/>
        <a:lstStyle/>
        <a:p>
          <a:endParaRPr lang="en-US"/>
        </a:p>
      </dgm:t>
    </dgm:pt>
    <dgm:pt modelId="{A22F6ED7-27F1-4903-9D81-BE352925F144}">
      <dgm:prSet custT="1"/>
      <dgm:spPr/>
      <dgm:t>
        <a:bodyPr/>
        <a:lstStyle/>
        <a:p>
          <a:r>
            <a:rPr lang="en-US" sz="2000" baseline="0"/>
            <a:t>Locking Escalation</a:t>
          </a:r>
          <a:endParaRPr lang="en-US" sz="2000" baseline="0" dirty="0"/>
        </a:p>
      </dgm:t>
    </dgm:pt>
    <dgm:pt modelId="{B4BC9915-3E02-4538-A016-67263A79B73B}" type="parTrans" cxnId="{1303850C-ACB9-4380-B5B5-94A67B173A78}">
      <dgm:prSet/>
      <dgm:spPr/>
      <dgm:t>
        <a:bodyPr/>
        <a:lstStyle/>
        <a:p>
          <a:endParaRPr lang="en-US"/>
        </a:p>
      </dgm:t>
    </dgm:pt>
    <dgm:pt modelId="{3AE85684-6808-4F58-96BF-373807336030}" type="sibTrans" cxnId="{1303850C-ACB9-4380-B5B5-94A67B173A78}">
      <dgm:prSet/>
      <dgm:spPr/>
      <dgm:t>
        <a:bodyPr/>
        <a:lstStyle/>
        <a:p>
          <a:endParaRPr lang="en-US"/>
        </a:p>
      </dgm:t>
    </dgm:pt>
    <dgm:pt modelId="{04BAFC1B-1638-4418-977A-7779E5603183}">
      <dgm:prSet custT="1"/>
      <dgm:spPr/>
      <dgm:t>
        <a:bodyPr/>
        <a:lstStyle/>
        <a:p>
          <a:r>
            <a:rPr lang="en-US" sz="2000" baseline="0" dirty="0"/>
            <a:t>Blocking and Deadlocking</a:t>
          </a:r>
        </a:p>
      </dgm:t>
    </dgm:pt>
    <dgm:pt modelId="{D4F3B471-92EF-43B2-B2BE-994DC6EFA264}" type="parTrans" cxnId="{34768318-B389-4E21-8370-9771AAC50BAD}">
      <dgm:prSet/>
      <dgm:spPr/>
      <dgm:t>
        <a:bodyPr/>
        <a:lstStyle/>
        <a:p>
          <a:endParaRPr lang="en-US"/>
        </a:p>
      </dgm:t>
    </dgm:pt>
    <dgm:pt modelId="{53A8EF88-53CC-4B4A-940B-262345EA010D}" type="sibTrans" cxnId="{34768318-B389-4E21-8370-9771AAC50BAD}">
      <dgm:prSet/>
      <dgm:spPr/>
      <dgm:t>
        <a:bodyPr/>
        <a:lstStyle/>
        <a:p>
          <a:endParaRPr lang="en-US"/>
        </a:p>
      </dgm:t>
    </dgm:pt>
    <dgm:pt modelId="{6E6EB70D-B949-4BA9-BD23-4627637359BF}">
      <dgm:prSet custT="1"/>
      <dgm:spPr/>
      <dgm:t>
        <a:bodyPr/>
        <a:lstStyle/>
        <a:p>
          <a:r>
            <a:rPr lang="en-US" sz="2000" baseline="0" dirty="0"/>
            <a:t>SQL Server disk I/O operations.</a:t>
          </a:r>
        </a:p>
      </dgm:t>
    </dgm:pt>
    <dgm:pt modelId="{DDFCBABD-6506-4097-B4B3-2D4D6D667DB0}" type="parTrans" cxnId="{41182B3C-D737-4FE9-89F4-44DC8369A57D}">
      <dgm:prSet/>
      <dgm:spPr/>
      <dgm:t>
        <a:bodyPr/>
        <a:lstStyle/>
        <a:p>
          <a:endParaRPr lang="en-US"/>
        </a:p>
      </dgm:t>
    </dgm:pt>
    <dgm:pt modelId="{7AA27950-C547-4B18-8586-3E25243F78EE}" type="sibTrans" cxnId="{41182B3C-D737-4FE9-89F4-44DC8369A57D}">
      <dgm:prSet/>
      <dgm:spPr/>
      <dgm:t>
        <a:bodyPr/>
        <a:lstStyle/>
        <a:p>
          <a:endParaRPr lang="en-US"/>
        </a:p>
      </dgm:t>
    </dgm:pt>
    <dgm:pt modelId="{C2487BFA-D8E2-44AB-BE3A-D1E2E2CFCB7B}">
      <dgm:prSet custT="1"/>
      <dgm:spPr/>
      <dgm:t>
        <a:bodyPr/>
        <a:lstStyle/>
        <a:p>
          <a:r>
            <a:rPr lang="en-US" sz="2000" baseline="0" dirty="0"/>
            <a:t>Buffer Pool page cache</a:t>
          </a:r>
        </a:p>
      </dgm:t>
    </dgm:pt>
    <dgm:pt modelId="{C5FBFC42-975D-465E-AB75-7469A054E32C}" type="parTrans" cxnId="{C3A9CAAD-BB5B-4DF4-871E-CA1890D7EFB6}">
      <dgm:prSet/>
      <dgm:spPr/>
      <dgm:t>
        <a:bodyPr/>
        <a:lstStyle/>
        <a:p>
          <a:endParaRPr lang="en-US"/>
        </a:p>
      </dgm:t>
    </dgm:pt>
    <dgm:pt modelId="{2761E95D-67D7-4532-8FA5-BDFC850BB34E}" type="sibTrans" cxnId="{C3A9CAAD-BB5B-4DF4-871E-CA1890D7EFB6}">
      <dgm:prSet/>
      <dgm:spPr/>
      <dgm:t>
        <a:bodyPr/>
        <a:lstStyle/>
        <a:p>
          <a:endParaRPr lang="en-US"/>
        </a:p>
      </dgm:t>
    </dgm:pt>
    <dgm:pt modelId="{3C774FC6-375F-4FFC-AC6E-D1E5957186BD}">
      <dgm:prSet custT="1"/>
      <dgm:spPr/>
      <dgm:t>
        <a:bodyPr/>
        <a:lstStyle/>
        <a:p>
          <a:r>
            <a:rPr lang="en-US" sz="2000" dirty="0"/>
            <a:t>Pages and Extents</a:t>
          </a:r>
          <a:endParaRPr lang="en-US" sz="2000" baseline="0" dirty="0"/>
        </a:p>
      </dgm:t>
    </dgm:pt>
    <dgm:pt modelId="{295313A3-FE34-410E-8341-CF672E02DBDA}" type="parTrans" cxnId="{EDCF5512-FEA5-4B60-92F3-A9F0DCABE2E4}">
      <dgm:prSet/>
      <dgm:spPr/>
      <dgm:t>
        <a:bodyPr/>
        <a:lstStyle/>
        <a:p>
          <a:endParaRPr lang="en-US"/>
        </a:p>
      </dgm:t>
    </dgm:pt>
    <dgm:pt modelId="{55EDFC03-83F9-4FC5-8349-DFD3E6918C4C}" type="sibTrans" cxnId="{EDCF5512-FEA5-4B60-92F3-A9F0DCABE2E4}">
      <dgm:prSet/>
      <dgm:spPr/>
      <dgm:t>
        <a:bodyPr/>
        <a:lstStyle/>
        <a:p>
          <a:endParaRPr lang="en-US"/>
        </a:p>
      </dgm:t>
    </dgm:pt>
    <dgm:pt modelId="{B42E6178-7A90-4973-8A48-DCFC12C0B916}">
      <dgm:prSet custT="1"/>
      <dgm:spPr/>
      <dgm:t>
        <a:bodyPr/>
        <a:lstStyle/>
        <a:p>
          <a:r>
            <a:rPr lang="en-US" sz="2000" dirty="0"/>
            <a:t>Data File Structure</a:t>
          </a:r>
        </a:p>
      </dgm:t>
    </dgm:pt>
    <dgm:pt modelId="{142F08C7-8029-4BB2-9E68-33978AC4BE5B}" type="parTrans" cxnId="{06FB0F1E-B8DD-4498-87B6-94A659B68B40}">
      <dgm:prSet/>
      <dgm:spPr/>
      <dgm:t>
        <a:bodyPr/>
        <a:lstStyle/>
        <a:p>
          <a:endParaRPr lang="en-US"/>
        </a:p>
      </dgm:t>
    </dgm:pt>
    <dgm:pt modelId="{456C204F-1CD0-4A1F-B212-1150F29BB28C}" type="sibTrans" cxnId="{06FB0F1E-B8DD-4498-87B6-94A659B68B40}">
      <dgm:prSet/>
      <dgm:spPr/>
      <dgm:t>
        <a:bodyPr/>
        <a:lstStyle/>
        <a:p>
          <a:endParaRPr lang="en-US"/>
        </a:p>
      </dgm:t>
    </dgm:pt>
    <dgm:pt modelId="{54DAEF04-5F34-424E-8B40-5E9E3BE75A52}">
      <dgm:prSet custT="1"/>
      <dgm:spPr/>
      <dgm:t>
        <a:bodyPr/>
        <a:lstStyle/>
        <a:p>
          <a:r>
            <a:rPr lang="fr-FR" sz="2000" dirty="0"/>
            <a:t>Log File Structure</a:t>
          </a:r>
          <a:endParaRPr lang="en-US" sz="2000" dirty="0"/>
        </a:p>
      </dgm:t>
    </dgm:pt>
    <dgm:pt modelId="{0D6E3C11-7023-434E-B4B3-1A2E32A33F3D}" type="parTrans" cxnId="{2AA08768-113B-4ADF-800A-182EEFE4C749}">
      <dgm:prSet/>
      <dgm:spPr/>
      <dgm:t>
        <a:bodyPr/>
        <a:lstStyle/>
        <a:p>
          <a:endParaRPr lang="en-US"/>
        </a:p>
      </dgm:t>
    </dgm:pt>
    <dgm:pt modelId="{6EA07C03-2821-4564-B4CB-4914C04E0D58}" type="sibTrans" cxnId="{2AA08768-113B-4ADF-800A-182EEFE4C749}">
      <dgm:prSet/>
      <dgm:spPr/>
      <dgm:t>
        <a:bodyPr/>
        <a:lstStyle/>
        <a:p>
          <a:endParaRPr lang="en-US"/>
        </a:p>
      </dgm:t>
    </dgm:pt>
    <dgm:pt modelId="{6ADAF4D0-AE21-49CB-BA9D-4C197B7F1E42}">
      <dgm:prSet custT="1"/>
      <dgm:spPr/>
      <dgm:t>
        <a:bodyPr/>
        <a:lstStyle/>
        <a:p>
          <a:r>
            <a:rPr lang="en-US" sz="2000" dirty="0"/>
            <a:t>SQL Server Logging Process</a:t>
          </a:r>
        </a:p>
      </dgm:t>
    </dgm:pt>
    <dgm:pt modelId="{0ABF1648-9463-45E1-A94E-A32101DE4A3D}" type="parTrans" cxnId="{9FB35B41-0867-4F45-8F5D-4661EF8714B5}">
      <dgm:prSet/>
      <dgm:spPr/>
      <dgm:t>
        <a:bodyPr/>
        <a:lstStyle/>
        <a:p>
          <a:endParaRPr lang="en-US"/>
        </a:p>
      </dgm:t>
    </dgm:pt>
    <dgm:pt modelId="{6886DAE1-7011-4179-9967-F48B3198BA16}" type="sibTrans" cxnId="{9FB35B41-0867-4F45-8F5D-4661EF8714B5}">
      <dgm:prSet/>
      <dgm:spPr/>
      <dgm:t>
        <a:bodyPr/>
        <a:lstStyle/>
        <a:p>
          <a:endParaRPr lang="en-US"/>
        </a:p>
      </dgm:t>
    </dgm:pt>
    <dgm:pt modelId="{2962FF01-D42A-4BF7-8865-0A81602268FE}" type="pres">
      <dgm:prSet presAssocID="{01E1DF0C-A459-49AA-8F8D-34E69D8DBE3E}" presName="Name0" presStyleCnt="0">
        <dgm:presLayoutVars>
          <dgm:dir/>
          <dgm:animLvl val="lvl"/>
          <dgm:resizeHandles val="exact"/>
        </dgm:presLayoutVars>
      </dgm:prSet>
      <dgm:spPr/>
    </dgm:pt>
    <dgm:pt modelId="{B4099DDF-8840-4F45-9215-46ECF59A03A9}" type="pres">
      <dgm:prSet presAssocID="{536E8374-BBB8-40BB-ACBD-22E490121568}" presName="linNode" presStyleCnt="0"/>
      <dgm:spPr/>
    </dgm:pt>
    <dgm:pt modelId="{ABA810B3-BA41-4BC9-AC8B-A6BA21F3BC43}" type="pres">
      <dgm:prSet presAssocID="{536E8374-BBB8-40BB-ACBD-22E490121568}" presName="parTx" presStyleLbl="revTx" presStyleIdx="0" presStyleCnt="2">
        <dgm:presLayoutVars>
          <dgm:chMax val="1"/>
          <dgm:bulletEnabled val="1"/>
        </dgm:presLayoutVars>
      </dgm:prSet>
      <dgm:spPr/>
    </dgm:pt>
    <dgm:pt modelId="{A2D2083F-E7F6-457F-89A7-273FBC41E1F2}" type="pres">
      <dgm:prSet presAssocID="{536E8374-BBB8-40BB-ACBD-22E490121568}" presName="bracket" presStyleLbl="parChTrans1D1" presStyleIdx="0" presStyleCnt="2"/>
      <dgm:spPr/>
    </dgm:pt>
    <dgm:pt modelId="{129D8A57-A88E-4C88-8310-314EAF1FF90C}" type="pres">
      <dgm:prSet presAssocID="{536E8374-BBB8-40BB-ACBD-22E490121568}" presName="spH" presStyleCnt="0"/>
      <dgm:spPr/>
    </dgm:pt>
    <dgm:pt modelId="{B0944086-81FF-43E1-83DB-8A5BD13B7EDF}" type="pres">
      <dgm:prSet presAssocID="{536E8374-BBB8-40BB-ACBD-22E490121568}" presName="desTx" presStyleLbl="node1" presStyleIdx="0" presStyleCnt="2">
        <dgm:presLayoutVars>
          <dgm:bulletEnabled val="1"/>
        </dgm:presLayoutVars>
      </dgm:prSet>
      <dgm:spPr/>
    </dgm:pt>
    <dgm:pt modelId="{5B048874-5B2C-4A2B-AC30-552EF95B1379}" type="pres">
      <dgm:prSet presAssocID="{498D443E-B527-4599-8CF9-E9DC179B3CE3}" presName="spV" presStyleCnt="0"/>
      <dgm:spPr/>
    </dgm:pt>
    <dgm:pt modelId="{93622E6A-9325-460B-821D-440E28A06805}" type="pres">
      <dgm:prSet presAssocID="{1F891A1C-7E36-485E-9115-5F51A3F78549}" presName="linNode" presStyleCnt="0"/>
      <dgm:spPr/>
    </dgm:pt>
    <dgm:pt modelId="{C75EE833-5F73-4C5F-8169-0675A3D5940B}" type="pres">
      <dgm:prSet presAssocID="{1F891A1C-7E36-485E-9115-5F51A3F78549}" presName="parTx" presStyleLbl="revTx" presStyleIdx="1" presStyleCnt="2">
        <dgm:presLayoutVars>
          <dgm:chMax val="1"/>
          <dgm:bulletEnabled val="1"/>
        </dgm:presLayoutVars>
      </dgm:prSet>
      <dgm:spPr/>
    </dgm:pt>
    <dgm:pt modelId="{40192EDB-2023-46AA-863C-81BBB9CB0089}" type="pres">
      <dgm:prSet presAssocID="{1F891A1C-7E36-485E-9115-5F51A3F78549}" presName="bracket" presStyleLbl="parChTrans1D1" presStyleIdx="1" presStyleCnt="2"/>
      <dgm:spPr/>
    </dgm:pt>
    <dgm:pt modelId="{1E4A5CD1-BDD1-431E-AE88-3EABB78A5EAB}" type="pres">
      <dgm:prSet presAssocID="{1F891A1C-7E36-485E-9115-5F51A3F78549}" presName="spH" presStyleCnt="0"/>
      <dgm:spPr/>
    </dgm:pt>
    <dgm:pt modelId="{A28FEB91-9903-45EB-9CF9-97F88C048845}" type="pres">
      <dgm:prSet presAssocID="{1F891A1C-7E36-485E-9115-5F51A3F78549}" presName="desTx" presStyleLbl="node1" presStyleIdx="1" presStyleCnt="2">
        <dgm:presLayoutVars>
          <dgm:bulletEnabled val="1"/>
        </dgm:presLayoutVars>
      </dgm:prSet>
      <dgm:spPr/>
    </dgm:pt>
  </dgm:ptLst>
  <dgm:cxnLst>
    <dgm:cxn modelId="{58207300-1ADD-40A0-96F5-F59F0C27B3E2}" srcId="{01E1DF0C-A459-49AA-8F8D-34E69D8DBE3E}" destId="{536E8374-BBB8-40BB-ACBD-22E490121568}" srcOrd="0" destOrd="0" parTransId="{46BC945B-9D04-47F7-8FCB-0B9C69EF93ED}" sibTransId="{498D443E-B527-4599-8CF9-E9DC179B3CE3}"/>
    <dgm:cxn modelId="{1303850C-ACB9-4380-B5B5-94A67B173A78}" srcId="{1F891A1C-7E36-485E-9115-5F51A3F78549}" destId="{A22F6ED7-27F1-4903-9D81-BE352925F144}" srcOrd="4" destOrd="0" parTransId="{B4BC9915-3E02-4538-A016-67263A79B73B}" sibTransId="{3AE85684-6808-4F58-96BF-373807336030}"/>
    <dgm:cxn modelId="{10516210-089D-44B0-9B5C-F039681FCA73}" type="presOf" srcId="{1F891A1C-7E36-485E-9115-5F51A3F78549}" destId="{C75EE833-5F73-4C5F-8169-0675A3D5940B}" srcOrd="0" destOrd="0" presId="urn:diagrams.loki3.com/BracketList"/>
    <dgm:cxn modelId="{EDCF5512-FEA5-4B60-92F3-A9F0DCABE2E4}" srcId="{536E8374-BBB8-40BB-ACBD-22E490121568}" destId="{3C774FC6-375F-4FFC-AC6E-D1E5957186BD}" srcOrd="2" destOrd="0" parTransId="{295313A3-FE34-410E-8341-CF672E02DBDA}" sibTransId="{55EDFC03-83F9-4FC5-8349-DFD3E6918C4C}"/>
    <dgm:cxn modelId="{A712D815-9F40-43CB-B5A3-2D88E2DBDE20}" srcId="{1F891A1C-7E36-485E-9115-5F51A3F78549}" destId="{A4873E80-D1D0-478F-9FBB-AE894D4B76D8}" srcOrd="1" destOrd="0" parTransId="{F2BF2308-52B2-4203-A2C3-191F7E7D7C3A}" sibTransId="{EFE33FBA-8CBF-40C8-971D-90AED2652732}"/>
    <dgm:cxn modelId="{34768318-B389-4E21-8370-9771AAC50BAD}" srcId="{1F891A1C-7E36-485E-9115-5F51A3F78549}" destId="{04BAFC1B-1638-4418-977A-7779E5603183}" srcOrd="5" destOrd="0" parTransId="{D4F3B471-92EF-43B2-B2BE-994DC6EFA264}" sibTransId="{53A8EF88-53CC-4B4A-940B-262345EA010D}"/>
    <dgm:cxn modelId="{06FB0F1E-B8DD-4498-87B6-94A659B68B40}" srcId="{536E8374-BBB8-40BB-ACBD-22E490121568}" destId="{B42E6178-7A90-4973-8A48-DCFC12C0B916}" srcOrd="3" destOrd="0" parTransId="{142F08C7-8029-4BB2-9E68-33978AC4BE5B}" sibTransId="{456C204F-1CD0-4A1F-B212-1150F29BB28C}"/>
    <dgm:cxn modelId="{D887E12D-1611-4DAA-8CE3-346A808CDF55}" type="presOf" srcId="{C2487BFA-D8E2-44AB-BE3A-D1E2E2CFCB7B}" destId="{B0944086-81FF-43E1-83DB-8A5BD13B7EDF}" srcOrd="0" destOrd="1" presId="urn:diagrams.loki3.com/BracketList"/>
    <dgm:cxn modelId="{1B51152F-7322-4776-B8C1-5B4B486ED6D5}" type="presOf" srcId="{E6A4D517-F51B-4FFC-9D4C-9B7FEB0485C1}" destId="{A28FEB91-9903-45EB-9CF9-97F88C048845}" srcOrd="0" destOrd="0" presId="urn:diagrams.loki3.com/BracketList"/>
    <dgm:cxn modelId="{132E2132-C8EC-47B9-A128-9E871CA714A5}" type="presOf" srcId="{54DAEF04-5F34-424E-8B40-5E9E3BE75A52}" destId="{B0944086-81FF-43E1-83DB-8A5BD13B7EDF}" srcOrd="0" destOrd="5" presId="urn:diagrams.loki3.com/BracketList"/>
    <dgm:cxn modelId="{41182B3C-D737-4FE9-89F4-44DC8369A57D}" srcId="{536E8374-BBB8-40BB-ACBD-22E490121568}" destId="{6E6EB70D-B949-4BA9-BD23-4627637359BF}" srcOrd="0" destOrd="0" parTransId="{DDFCBABD-6506-4097-B4B3-2D4D6D667DB0}" sibTransId="{7AA27950-C547-4B18-8586-3E25243F78EE}"/>
    <dgm:cxn modelId="{DEFE745C-EFD8-4D09-95F2-7D94926F54B6}" type="presOf" srcId="{A22F6ED7-27F1-4903-9D81-BE352925F144}" destId="{A28FEB91-9903-45EB-9CF9-97F88C048845}" srcOrd="0" destOrd="4" presId="urn:diagrams.loki3.com/BracketList"/>
    <dgm:cxn modelId="{2E19A65E-64CA-40CD-B500-F35FF89B25DC}" type="presOf" srcId="{3C774FC6-375F-4FFC-AC6E-D1E5957186BD}" destId="{B0944086-81FF-43E1-83DB-8A5BD13B7EDF}" srcOrd="0" destOrd="2" presId="urn:diagrams.loki3.com/BracketList"/>
    <dgm:cxn modelId="{E491E45F-118F-4175-8198-CA9707EE7AC2}" type="presOf" srcId="{01E1DF0C-A459-49AA-8F8D-34E69D8DBE3E}" destId="{2962FF01-D42A-4BF7-8865-0A81602268FE}" srcOrd="0" destOrd="0" presId="urn:diagrams.loki3.com/BracketList"/>
    <dgm:cxn modelId="{9FB35B41-0867-4F45-8F5D-4661EF8714B5}" srcId="{536E8374-BBB8-40BB-ACBD-22E490121568}" destId="{6ADAF4D0-AE21-49CB-BA9D-4C197B7F1E42}" srcOrd="6" destOrd="0" parTransId="{0ABF1648-9463-45E1-A94E-A32101DE4A3D}" sibTransId="{6886DAE1-7011-4179-9967-F48B3198BA16}"/>
    <dgm:cxn modelId="{1BC4A341-305D-440C-9DC2-6B1BC72E3D92}" type="presOf" srcId="{A4873E80-D1D0-478F-9FBB-AE894D4B76D8}" destId="{A28FEB91-9903-45EB-9CF9-97F88C048845}" srcOrd="0" destOrd="1" presId="urn:diagrams.loki3.com/BracketList"/>
    <dgm:cxn modelId="{3744B842-3B67-4BEF-9533-498F4D49646E}" type="presOf" srcId="{6E6EB70D-B949-4BA9-BD23-4627637359BF}" destId="{B0944086-81FF-43E1-83DB-8A5BD13B7EDF}" srcOrd="0" destOrd="0" presId="urn:diagrams.loki3.com/BracketList"/>
    <dgm:cxn modelId="{A04C3168-5D0C-466F-9C1D-9960D9ED12E4}" type="presOf" srcId="{EF51F51F-67EC-4E4B-AAC5-E0AEFD2BCB11}" destId="{B0944086-81FF-43E1-83DB-8A5BD13B7EDF}" srcOrd="0" destOrd="4" presId="urn:diagrams.loki3.com/BracketList"/>
    <dgm:cxn modelId="{2AA08768-113B-4ADF-800A-182EEFE4C749}" srcId="{536E8374-BBB8-40BB-ACBD-22E490121568}" destId="{54DAEF04-5F34-424E-8B40-5E9E3BE75A52}" srcOrd="5" destOrd="0" parTransId="{0D6E3C11-7023-434E-B4B3-1A2E32A33F3D}" sibTransId="{6EA07C03-2821-4564-B4CB-4914C04E0D58}"/>
    <dgm:cxn modelId="{04AD439B-F59F-4EDA-8E70-F7306C45FCB8}" type="presOf" srcId="{10F62DD1-36E4-4FA4-AA52-2BFA51684385}" destId="{A28FEB91-9903-45EB-9CF9-97F88C048845}" srcOrd="0" destOrd="2" presId="urn:diagrams.loki3.com/BracketList"/>
    <dgm:cxn modelId="{6E4BB99E-FEC2-4207-88E3-6A0E8DA64B8B}" type="presOf" srcId="{E7155097-115B-448B-A137-BF99CAC83317}" destId="{A28FEB91-9903-45EB-9CF9-97F88C048845}" srcOrd="0" destOrd="3" presId="urn:diagrams.loki3.com/BracketList"/>
    <dgm:cxn modelId="{C3A9CAAD-BB5B-4DF4-871E-CA1890D7EFB6}" srcId="{536E8374-BBB8-40BB-ACBD-22E490121568}" destId="{C2487BFA-D8E2-44AB-BE3A-D1E2E2CFCB7B}" srcOrd="1" destOrd="0" parTransId="{C5FBFC42-975D-465E-AB75-7469A054E32C}" sibTransId="{2761E95D-67D7-4532-8FA5-BDFC850BB34E}"/>
    <dgm:cxn modelId="{79AA2ABC-7832-4287-89A8-9A65C38BDFB6}" srcId="{01E1DF0C-A459-49AA-8F8D-34E69D8DBE3E}" destId="{1F891A1C-7E36-485E-9115-5F51A3F78549}" srcOrd="1" destOrd="0" parTransId="{1848A4E6-E545-4816-A381-1200986F214C}" sibTransId="{B9C69D8B-CBFE-4E89-BFBF-3E1660368D4E}"/>
    <dgm:cxn modelId="{A156E3BC-11DD-497B-8FF6-BFB2D74A157C}" srcId="{1F891A1C-7E36-485E-9115-5F51A3F78549}" destId="{E7155097-115B-448B-A137-BF99CAC83317}" srcOrd="3" destOrd="0" parTransId="{8722F3A1-3FB6-4366-828E-EE89D9528A6E}" sibTransId="{180A9ECA-AC1B-4E24-ACED-248800449CF8}"/>
    <dgm:cxn modelId="{91AF28E0-0990-4695-A9BE-8D57A8B90FE2}" type="presOf" srcId="{B42E6178-7A90-4973-8A48-DCFC12C0B916}" destId="{B0944086-81FF-43E1-83DB-8A5BD13B7EDF}" srcOrd="0" destOrd="3" presId="urn:diagrams.loki3.com/BracketList"/>
    <dgm:cxn modelId="{DA9CF1E1-BB4D-4CEF-A925-8C59555A60CD}" srcId="{1F891A1C-7E36-485E-9115-5F51A3F78549}" destId="{E6A4D517-F51B-4FFC-9D4C-9B7FEB0485C1}" srcOrd="0" destOrd="0" parTransId="{4575CBDD-B35B-4E73-9307-0DFC2310C57B}" sibTransId="{072A4AE3-C61F-446D-B43C-859B7DA6C096}"/>
    <dgm:cxn modelId="{06D1F7E9-7BA5-4F85-9189-6532FA0E24BD}" type="presOf" srcId="{6ADAF4D0-AE21-49CB-BA9D-4C197B7F1E42}" destId="{B0944086-81FF-43E1-83DB-8A5BD13B7EDF}" srcOrd="0" destOrd="6" presId="urn:diagrams.loki3.com/BracketList"/>
    <dgm:cxn modelId="{F51D3FED-311D-45CB-952D-A387F0A270A5}" srcId="{536E8374-BBB8-40BB-ACBD-22E490121568}" destId="{EF51F51F-67EC-4E4B-AAC5-E0AEFD2BCB11}" srcOrd="4" destOrd="0" parTransId="{A28056C8-EB41-45F2-A194-A7F5383F5BA9}" sibTransId="{FEDAC439-E668-424E-83B6-DF6F057ADD38}"/>
    <dgm:cxn modelId="{EBA76EF4-7ED2-4CD7-A00C-8BEEAC2878DA}" srcId="{1F891A1C-7E36-485E-9115-5F51A3F78549}" destId="{10F62DD1-36E4-4FA4-AA52-2BFA51684385}" srcOrd="2" destOrd="0" parTransId="{18B2D454-9543-4665-A2D7-CAE595C11F45}" sibTransId="{3B323AD5-CBB2-44EF-AB37-5800B163977C}"/>
    <dgm:cxn modelId="{55AA45F9-82F0-479F-A0D4-A8EF74A99A9B}" type="presOf" srcId="{04BAFC1B-1638-4418-977A-7779E5603183}" destId="{A28FEB91-9903-45EB-9CF9-97F88C048845}" srcOrd="0" destOrd="5" presId="urn:diagrams.loki3.com/BracketList"/>
    <dgm:cxn modelId="{CB7600FF-C090-4CF1-B3E9-272D4E109483}" type="presOf" srcId="{536E8374-BBB8-40BB-ACBD-22E490121568}" destId="{ABA810B3-BA41-4BC9-AC8B-A6BA21F3BC43}" srcOrd="0" destOrd="0" presId="urn:diagrams.loki3.com/BracketList"/>
    <dgm:cxn modelId="{197ABABC-3248-408B-8F7B-D1F0ECF18798}" type="presParOf" srcId="{2962FF01-D42A-4BF7-8865-0A81602268FE}" destId="{B4099DDF-8840-4F45-9215-46ECF59A03A9}" srcOrd="0" destOrd="0" presId="urn:diagrams.loki3.com/BracketList"/>
    <dgm:cxn modelId="{A2A60B55-57B1-4992-B3F4-CD0FA948C2C0}" type="presParOf" srcId="{B4099DDF-8840-4F45-9215-46ECF59A03A9}" destId="{ABA810B3-BA41-4BC9-AC8B-A6BA21F3BC43}" srcOrd="0" destOrd="0" presId="urn:diagrams.loki3.com/BracketList"/>
    <dgm:cxn modelId="{45C085BB-63F1-4830-A316-F726073B2990}" type="presParOf" srcId="{B4099DDF-8840-4F45-9215-46ECF59A03A9}" destId="{A2D2083F-E7F6-457F-89A7-273FBC41E1F2}" srcOrd="1" destOrd="0" presId="urn:diagrams.loki3.com/BracketList"/>
    <dgm:cxn modelId="{588FA36B-E0EF-4317-BC08-49FAAD66F19F}" type="presParOf" srcId="{B4099DDF-8840-4F45-9215-46ECF59A03A9}" destId="{129D8A57-A88E-4C88-8310-314EAF1FF90C}" srcOrd="2" destOrd="0" presId="urn:diagrams.loki3.com/BracketList"/>
    <dgm:cxn modelId="{67E89598-211D-4BA7-9020-278CE0F84A40}" type="presParOf" srcId="{B4099DDF-8840-4F45-9215-46ECF59A03A9}" destId="{B0944086-81FF-43E1-83DB-8A5BD13B7EDF}" srcOrd="3" destOrd="0" presId="urn:diagrams.loki3.com/BracketList"/>
    <dgm:cxn modelId="{9408B21C-BC8B-4BD5-864F-6BC90AD7F8A5}" type="presParOf" srcId="{2962FF01-D42A-4BF7-8865-0A81602268FE}" destId="{5B048874-5B2C-4A2B-AC30-552EF95B1379}" srcOrd="1" destOrd="0" presId="urn:diagrams.loki3.com/BracketList"/>
    <dgm:cxn modelId="{8EB844FF-BF3E-4CAB-AD2C-DB74281A0EEA}" type="presParOf" srcId="{2962FF01-D42A-4BF7-8865-0A81602268FE}" destId="{93622E6A-9325-460B-821D-440E28A06805}" srcOrd="2" destOrd="0" presId="urn:diagrams.loki3.com/BracketList"/>
    <dgm:cxn modelId="{72BA12F6-FB83-4C7F-A03B-2C01F64710F5}" type="presParOf" srcId="{93622E6A-9325-460B-821D-440E28A06805}" destId="{C75EE833-5F73-4C5F-8169-0675A3D5940B}" srcOrd="0" destOrd="0" presId="urn:diagrams.loki3.com/BracketList"/>
    <dgm:cxn modelId="{FEDB9C3D-1EA0-4B27-83B3-902E77CEE5D7}" type="presParOf" srcId="{93622E6A-9325-460B-821D-440E28A06805}" destId="{40192EDB-2023-46AA-863C-81BBB9CB0089}" srcOrd="1" destOrd="0" presId="urn:diagrams.loki3.com/BracketList"/>
    <dgm:cxn modelId="{5244BC02-5608-4F61-97F9-DB9647A322BE}" type="presParOf" srcId="{93622E6A-9325-460B-821D-440E28A06805}" destId="{1E4A5CD1-BDD1-431E-AE88-3EABB78A5EAB}" srcOrd="2" destOrd="0" presId="urn:diagrams.loki3.com/BracketList"/>
    <dgm:cxn modelId="{80526523-4910-49F4-99DB-119A4B9B7630}" type="presParOf" srcId="{93622E6A-9325-460B-821D-440E28A06805}" destId="{A28FEB91-9903-45EB-9CF9-97F88C048845}" srcOrd="3" destOrd="0" presId="urn:diagrams.loki3.com/Bracke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E1DF0C-A459-49AA-8F8D-34E69D8DBE3E}"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536E8374-BBB8-40BB-ACBD-22E490121568}">
      <dgm:prSet custT="1"/>
      <dgm:spPr/>
      <dgm:t>
        <a:bodyPr/>
        <a:lstStyle/>
        <a:p>
          <a:r>
            <a:rPr lang="en-US" sz="2000" dirty="0"/>
            <a:t>Module 5: SQL Server Index Structure</a:t>
          </a:r>
          <a:endParaRPr lang="en-US" sz="2000" baseline="0" dirty="0"/>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5F1236AC-AA50-4ED2-916A-1A04C4C76382}">
      <dgm:prSet custT="1"/>
      <dgm:spPr/>
      <dgm:t>
        <a:bodyPr/>
        <a:lstStyle/>
        <a:p>
          <a:r>
            <a:rPr lang="en-US" sz="2000" dirty="0"/>
            <a:t>Indexing and SARGability</a:t>
          </a:r>
        </a:p>
      </dgm:t>
    </dgm:pt>
    <dgm:pt modelId="{C334E57A-3E04-4C56-AC46-97DE0DC3E366}" type="parTrans" cxnId="{D5522B8C-7A97-4E83-9E22-1DD83C6A0372}">
      <dgm:prSet/>
      <dgm:spPr/>
      <dgm:t>
        <a:bodyPr/>
        <a:lstStyle/>
        <a:p>
          <a:endParaRPr lang="en-US"/>
        </a:p>
      </dgm:t>
    </dgm:pt>
    <dgm:pt modelId="{C7BD2103-697D-4FD6-A083-49FD8F955299}" type="sibTrans" cxnId="{D5522B8C-7A97-4E83-9E22-1DD83C6A0372}">
      <dgm:prSet/>
      <dgm:spPr/>
      <dgm:t>
        <a:bodyPr/>
        <a:lstStyle/>
        <a:p>
          <a:endParaRPr lang="en-US"/>
        </a:p>
      </dgm:t>
    </dgm:pt>
    <dgm:pt modelId="{A486FF56-B0FE-44B3-9368-8688A91E8F5E}">
      <dgm:prSet custT="1"/>
      <dgm:spPr/>
      <dgm:t>
        <a:bodyPr/>
        <a:lstStyle/>
        <a:p>
          <a:r>
            <a:rPr lang="en-US" sz="2000" dirty="0"/>
            <a:t>Index Monitoring</a:t>
          </a:r>
        </a:p>
      </dgm:t>
    </dgm:pt>
    <dgm:pt modelId="{8E3C6F15-38C6-44CC-B0BB-9FD3114458C3}" type="parTrans" cxnId="{A331470D-453D-4B1C-9166-4939D393AD57}">
      <dgm:prSet/>
      <dgm:spPr/>
      <dgm:t>
        <a:bodyPr/>
        <a:lstStyle/>
        <a:p>
          <a:endParaRPr lang="en-US"/>
        </a:p>
      </dgm:t>
    </dgm:pt>
    <dgm:pt modelId="{6C8A758B-7A4C-4024-AC8B-7DA9F285255C}" type="sibTrans" cxnId="{A331470D-453D-4B1C-9166-4939D393AD57}">
      <dgm:prSet/>
      <dgm:spPr/>
      <dgm:t>
        <a:bodyPr/>
        <a:lstStyle/>
        <a:p>
          <a:endParaRPr lang="en-US"/>
        </a:p>
      </dgm:t>
    </dgm:pt>
    <dgm:pt modelId="{941C851F-B3D8-4C2B-9633-3F5F56CB2450}">
      <dgm:prSet custT="1"/>
      <dgm:spPr/>
      <dgm:t>
        <a:bodyPr/>
        <a:lstStyle/>
        <a:p>
          <a:r>
            <a:rPr lang="en-US" sz="2000" dirty="0"/>
            <a:t>Indexing Strategies</a:t>
          </a:r>
        </a:p>
      </dgm:t>
    </dgm:pt>
    <dgm:pt modelId="{4E19503D-7CF8-4DCA-8CD8-C51D4F8F50D3}" type="parTrans" cxnId="{C156DD3A-C5F2-46DF-A88A-44CACF1B7629}">
      <dgm:prSet/>
      <dgm:spPr/>
      <dgm:t>
        <a:bodyPr/>
        <a:lstStyle/>
        <a:p>
          <a:endParaRPr lang="en-US"/>
        </a:p>
      </dgm:t>
    </dgm:pt>
    <dgm:pt modelId="{C83A477D-E7F8-43DC-8B76-DF4652C7060E}" type="sibTrans" cxnId="{C156DD3A-C5F2-46DF-A88A-44CACF1B7629}">
      <dgm:prSet/>
      <dgm:spPr/>
      <dgm:t>
        <a:bodyPr/>
        <a:lstStyle/>
        <a:p>
          <a:endParaRPr lang="en-US"/>
        </a:p>
      </dgm:t>
    </dgm:pt>
    <dgm:pt modelId="{481C8922-B41E-4C6B-BDA9-1D6B525A0BB0}">
      <dgm:prSet custT="1"/>
      <dgm:spPr/>
      <dgm:t>
        <a:bodyPr/>
        <a:lstStyle/>
        <a:p>
          <a:r>
            <a:rPr lang="en-US" sz="2000" dirty="0"/>
            <a:t>Non-Clustered Indexes</a:t>
          </a:r>
        </a:p>
      </dgm:t>
    </dgm:pt>
    <dgm:pt modelId="{AAC42CF7-6067-463B-A309-3C5E3F7E5225}" type="parTrans" cxnId="{DD63DAD5-30AF-4445-A16E-A79375877AE9}">
      <dgm:prSet/>
      <dgm:spPr/>
      <dgm:t>
        <a:bodyPr/>
        <a:lstStyle/>
        <a:p>
          <a:endParaRPr lang="en-US"/>
        </a:p>
      </dgm:t>
    </dgm:pt>
    <dgm:pt modelId="{88C15CB2-F459-4FF1-B72C-7D207AFC96B4}" type="sibTrans" cxnId="{DD63DAD5-30AF-4445-A16E-A79375877AE9}">
      <dgm:prSet/>
      <dgm:spPr/>
      <dgm:t>
        <a:bodyPr/>
        <a:lstStyle/>
        <a:p>
          <a:endParaRPr lang="en-US"/>
        </a:p>
      </dgm:t>
    </dgm:pt>
    <dgm:pt modelId="{1BA5EE7F-4070-4E9E-B8B6-BD4B8D58EE5C}">
      <dgm:prSet custT="1"/>
      <dgm:spPr/>
      <dgm:t>
        <a:bodyPr/>
        <a:lstStyle/>
        <a:p>
          <a:r>
            <a:rPr lang="en-US" sz="2000" dirty="0"/>
            <a:t>Index Fragmentation</a:t>
          </a:r>
        </a:p>
      </dgm:t>
    </dgm:pt>
    <dgm:pt modelId="{3C7ED4CA-5575-4272-A589-2589A7C575D5}" type="parTrans" cxnId="{EAE4052B-B962-434F-B766-A3C2CC54E6D2}">
      <dgm:prSet/>
      <dgm:spPr/>
      <dgm:t>
        <a:bodyPr/>
        <a:lstStyle/>
        <a:p>
          <a:endParaRPr lang="en-US"/>
        </a:p>
      </dgm:t>
    </dgm:pt>
    <dgm:pt modelId="{F78FC196-42E1-4B19-BD54-4AA49B580463}" type="sibTrans" cxnId="{EAE4052B-B962-434F-B766-A3C2CC54E6D2}">
      <dgm:prSet/>
      <dgm:spPr/>
      <dgm:t>
        <a:bodyPr/>
        <a:lstStyle/>
        <a:p>
          <a:endParaRPr lang="en-US"/>
        </a:p>
      </dgm:t>
    </dgm:pt>
    <dgm:pt modelId="{BA228436-D07D-44B4-8223-FFF56038C550}">
      <dgm:prSet custT="1"/>
      <dgm:spPr/>
      <dgm:t>
        <a:bodyPr/>
        <a:lstStyle/>
        <a:p>
          <a:r>
            <a:rPr lang="en-US" sz="2000" dirty="0"/>
            <a:t>Seeks vs Scans</a:t>
          </a:r>
        </a:p>
      </dgm:t>
    </dgm:pt>
    <dgm:pt modelId="{9B6ED04E-9607-4BF4-93BF-FA5A28C56599}" type="parTrans" cxnId="{530542A5-7DB7-4D86-9540-9936E3C3C3D0}">
      <dgm:prSet/>
      <dgm:spPr/>
      <dgm:t>
        <a:bodyPr/>
        <a:lstStyle/>
        <a:p>
          <a:endParaRPr lang="en-US"/>
        </a:p>
      </dgm:t>
    </dgm:pt>
    <dgm:pt modelId="{6CC3F6A2-A82E-44C8-93F4-8B5A124C1C7E}" type="sibTrans" cxnId="{530542A5-7DB7-4D86-9540-9936E3C3C3D0}">
      <dgm:prSet/>
      <dgm:spPr/>
      <dgm:t>
        <a:bodyPr/>
        <a:lstStyle/>
        <a:p>
          <a:endParaRPr lang="en-US"/>
        </a:p>
      </dgm:t>
    </dgm:pt>
    <dgm:pt modelId="{F57A0DCD-8DEF-4B2B-883A-90153368359D}">
      <dgm:prSet custT="1"/>
      <dgm:spPr/>
      <dgm:t>
        <a:bodyPr/>
        <a:lstStyle/>
        <a:p>
          <a:r>
            <a:rPr lang="en-US" sz="2000" dirty="0"/>
            <a:t>Heaps vs Clustered Indexes</a:t>
          </a:r>
        </a:p>
      </dgm:t>
    </dgm:pt>
    <dgm:pt modelId="{58CE547D-E69E-4526-8ACD-47FA4EA1A8C3}" type="parTrans" cxnId="{FE65D16E-DCA2-4115-ACFE-647A5D6EDADE}">
      <dgm:prSet/>
      <dgm:spPr/>
      <dgm:t>
        <a:bodyPr/>
        <a:lstStyle/>
        <a:p>
          <a:endParaRPr lang="en-US"/>
        </a:p>
      </dgm:t>
    </dgm:pt>
    <dgm:pt modelId="{9D2D13E1-D02B-4C30-8E88-CB689C520445}" type="sibTrans" cxnId="{FE65D16E-DCA2-4115-ACFE-647A5D6EDADE}">
      <dgm:prSet/>
      <dgm:spPr/>
      <dgm:t>
        <a:bodyPr/>
        <a:lstStyle/>
        <a:p>
          <a:endParaRPr lang="en-US"/>
        </a:p>
      </dgm:t>
    </dgm:pt>
    <dgm:pt modelId="{DCD8DB74-FBC0-4DBB-B07C-6738A24834F2}">
      <dgm:prSet custT="1"/>
      <dgm:spPr/>
      <dgm:t>
        <a:bodyPr/>
        <a:lstStyle/>
        <a:p>
          <a:r>
            <a:rPr lang="en-US" sz="2000" dirty="0"/>
            <a:t>Module 6: SQL Server Statistics Structure</a:t>
          </a:r>
        </a:p>
      </dgm:t>
    </dgm:pt>
    <dgm:pt modelId="{7CB41881-F182-40F7-8F8E-B75706EBE552}" type="parTrans" cxnId="{5AD439BA-3236-43C3-BCD9-04087B95458B}">
      <dgm:prSet/>
      <dgm:spPr/>
      <dgm:t>
        <a:bodyPr/>
        <a:lstStyle/>
        <a:p>
          <a:endParaRPr lang="en-US"/>
        </a:p>
      </dgm:t>
    </dgm:pt>
    <dgm:pt modelId="{B3C034EA-CF88-45EB-902A-3E00A804E5B6}" type="sibTrans" cxnId="{5AD439BA-3236-43C3-BCD9-04087B95458B}">
      <dgm:prSet/>
      <dgm:spPr/>
      <dgm:t>
        <a:bodyPr/>
        <a:lstStyle/>
        <a:p>
          <a:endParaRPr lang="en-US"/>
        </a:p>
      </dgm:t>
    </dgm:pt>
    <dgm:pt modelId="{DABB1E94-B592-410B-B8F6-91B7D994984C}">
      <dgm:prSet custT="1"/>
      <dgm:spPr/>
      <dgm:t>
        <a:bodyPr/>
        <a:lstStyle/>
        <a:p>
          <a:r>
            <a:rPr lang="en-US" sz="2000" dirty="0"/>
            <a:t>SQL Server Statistics Internals</a:t>
          </a:r>
        </a:p>
      </dgm:t>
    </dgm:pt>
    <dgm:pt modelId="{429D3EF1-2DD1-40EF-B99A-BE4A495DA3B5}" type="parTrans" cxnId="{F410DEB9-77F1-4123-99CA-44FC18D52BF8}">
      <dgm:prSet/>
      <dgm:spPr/>
      <dgm:t>
        <a:bodyPr/>
        <a:lstStyle/>
        <a:p>
          <a:endParaRPr lang="en-US"/>
        </a:p>
      </dgm:t>
    </dgm:pt>
    <dgm:pt modelId="{C68247E8-2B6C-4869-BBC4-FAC7E8D0EA49}" type="sibTrans" cxnId="{F410DEB9-77F1-4123-99CA-44FC18D52BF8}">
      <dgm:prSet/>
      <dgm:spPr/>
      <dgm:t>
        <a:bodyPr/>
        <a:lstStyle/>
        <a:p>
          <a:endParaRPr lang="en-US"/>
        </a:p>
      </dgm:t>
    </dgm:pt>
    <dgm:pt modelId="{0573F0D3-7052-4FFC-81F7-1D0E7620A6F5}">
      <dgm:prSet custT="1"/>
      <dgm:spPr/>
      <dgm:t>
        <a:bodyPr/>
        <a:lstStyle/>
        <a:p>
          <a:r>
            <a:rPr lang="en-US" sz="2000" dirty="0"/>
            <a:t>SQL Server Statistics Maintenance </a:t>
          </a:r>
        </a:p>
      </dgm:t>
    </dgm:pt>
    <dgm:pt modelId="{E5323597-34B5-42F9-AF33-CE02E8FA6B9E}" type="parTrans" cxnId="{9ABD9ED0-B4C4-43D2-A589-D88FB74A3121}">
      <dgm:prSet/>
      <dgm:spPr/>
      <dgm:t>
        <a:bodyPr/>
        <a:lstStyle/>
        <a:p>
          <a:endParaRPr lang="en-US"/>
        </a:p>
      </dgm:t>
    </dgm:pt>
    <dgm:pt modelId="{BC0F8E5F-BC5D-4ACA-B7C6-9135E5A90D53}" type="sibTrans" cxnId="{9ABD9ED0-B4C4-43D2-A589-D88FB74A3121}">
      <dgm:prSet/>
      <dgm:spPr/>
      <dgm:t>
        <a:bodyPr/>
        <a:lstStyle/>
        <a:p>
          <a:endParaRPr lang="en-US"/>
        </a:p>
      </dgm:t>
    </dgm:pt>
    <dgm:pt modelId="{AE1F84C3-6840-4EA2-9713-CA8A836FA8F8}" type="pres">
      <dgm:prSet presAssocID="{01E1DF0C-A459-49AA-8F8D-34E69D8DBE3E}" presName="Name0" presStyleCnt="0">
        <dgm:presLayoutVars>
          <dgm:dir/>
          <dgm:animLvl val="lvl"/>
          <dgm:resizeHandles val="exact"/>
        </dgm:presLayoutVars>
      </dgm:prSet>
      <dgm:spPr/>
    </dgm:pt>
    <dgm:pt modelId="{69DDFF36-0DE3-4913-ACE2-2CD8F8629C4F}" type="pres">
      <dgm:prSet presAssocID="{536E8374-BBB8-40BB-ACBD-22E490121568}" presName="linNode" presStyleCnt="0"/>
      <dgm:spPr/>
    </dgm:pt>
    <dgm:pt modelId="{4DB363A3-D41F-44A2-ABA1-695F9BE86D45}" type="pres">
      <dgm:prSet presAssocID="{536E8374-BBB8-40BB-ACBD-22E490121568}" presName="parTx" presStyleLbl="revTx" presStyleIdx="0" presStyleCnt="2">
        <dgm:presLayoutVars>
          <dgm:chMax val="1"/>
          <dgm:bulletEnabled val="1"/>
        </dgm:presLayoutVars>
      </dgm:prSet>
      <dgm:spPr/>
    </dgm:pt>
    <dgm:pt modelId="{BD6209AB-44E8-4D76-AE62-DB0EE8C975FC}" type="pres">
      <dgm:prSet presAssocID="{536E8374-BBB8-40BB-ACBD-22E490121568}" presName="bracket" presStyleLbl="parChTrans1D1" presStyleIdx="0" presStyleCnt="2"/>
      <dgm:spPr/>
    </dgm:pt>
    <dgm:pt modelId="{F3C99D61-FAD1-4643-98B6-B14AB40941A7}" type="pres">
      <dgm:prSet presAssocID="{536E8374-BBB8-40BB-ACBD-22E490121568}" presName="spH" presStyleCnt="0"/>
      <dgm:spPr/>
    </dgm:pt>
    <dgm:pt modelId="{3A1E655C-B92A-437C-8DC9-2B8EAEF226E7}" type="pres">
      <dgm:prSet presAssocID="{536E8374-BBB8-40BB-ACBD-22E490121568}" presName="desTx" presStyleLbl="node1" presStyleIdx="0" presStyleCnt="2">
        <dgm:presLayoutVars>
          <dgm:bulletEnabled val="1"/>
        </dgm:presLayoutVars>
      </dgm:prSet>
      <dgm:spPr/>
    </dgm:pt>
    <dgm:pt modelId="{1B412CBA-2C09-4487-A4C4-2AC861D6CAEB}" type="pres">
      <dgm:prSet presAssocID="{498D443E-B527-4599-8CF9-E9DC179B3CE3}" presName="spV" presStyleCnt="0"/>
      <dgm:spPr/>
    </dgm:pt>
    <dgm:pt modelId="{459F0331-5BAA-4A5D-971A-F606AAC3BAB5}" type="pres">
      <dgm:prSet presAssocID="{DCD8DB74-FBC0-4DBB-B07C-6738A24834F2}" presName="linNode" presStyleCnt="0"/>
      <dgm:spPr/>
    </dgm:pt>
    <dgm:pt modelId="{71C37751-79FB-4065-B50A-1C9B4C91BBEF}" type="pres">
      <dgm:prSet presAssocID="{DCD8DB74-FBC0-4DBB-B07C-6738A24834F2}" presName="parTx" presStyleLbl="revTx" presStyleIdx="1" presStyleCnt="2">
        <dgm:presLayoutVars>
          <dgm:chMax val="1"/>
          <dgm:bulletEnabled val="1"/>
        </dgm:presLayoutVars>
      </dgm:prSet>
      <dgm:spPr/>
    </dgm:pt>
    <dgm:pt modelId="{207D6539-96BE-461E-B6DB-8DCF5E9ED570}" type="pres">
      <dgm:prSet presAssocID="{DCD8DB74-FBC0-4DBB-B07C-6738A24834F2}" presName="bracket" presStyleLbl="parChTrans1D1" presStyleIdx="1" presStyleCnt="2"/>
      <dgm:spPr/>
    </dgm:pt>
    <dgm:pt modelId="{8CE280C7-0103-40CA-B397-DB416F24D84C}" type="pres">
      <dgm:prSet presAssocID="{DCD8DB74-FBC0-4DBB-B07C-6738A24834F2}" presName="spH" presStyleCnt="0"/>
      <dgm:spPr/>
    </dgm:pt>
    <dgm:pt modelId="{A4880ACB-53CF-435F-88FE-D6EBA468A42F}" type="pres">
      <dgm:prSet presAssocID="{DCD8DB74-FBC0-4DBB-B07C-6738A24834F2}" presName="desTx" presStyleLbl="node1" presStyleIdx="1" presStyleCnt="2">
        <dgm:presLayoutVars>
          <dgm:bulletEnabled val="1"/>
        </dgm:presLayoutVars>
      </dgm:prSet>
      <dgm:spPr/>
    </dgm:pt>
  </dgm:ptLst>
  <dgm:cxnLst>
    <dgm:cxn modelId="{58207300-1ADD-40A0-96F5-F59F0C27B3E2}" srcId="{01E1DF0C-A459-49AA-8F8D-34E69D8DBE3E}" destId="{536E8374-BBB8-40BB-ACBD-22E490121568}" srcOrd="0" destOrd="0" parTransId="{46BC945B-9D04-47F7-8FCB-0B9C69EF93ED}" sibTransId="{498D443E-B527-4599-8CF9-E9DC179B3CE3}"/>
    <dgm:cxn modelId="{F796CE00-3F14-497D-97CA-EE6CCEC8BCC6}" type="presOf" srcId="{5F1236AC-AA50-4ED2-916A-1A04C4C76382}" destId="{3A1E655C-B92A-437C-8DC9-2B8EAEF226E7}" srcOrd="0" destOrd="0" presId="urn:diagrams.loki3.com/BracketList"/>
    <dgm:cxn modelId="{A331470D-453D-4B1C-9166-4939D393AD57}" srcId="{536E8374-BBB8-40BB-ACBD-22E490121568}" destId="{A486FF56-B0FE-44B3-9368-8688A91E8F5E}" srcOrd="5" destOrd="0" parTransId="{8E3C6F15-38C6-44CC-B0BB-9FD3114458C3}" sibTransId="{6C8A758B-7A4C-4024-AC8B-7DA9F285255C}"/>
    <dgm:cxn modelId="{EAE4052B-B962-434F-B766-A3C2CC54E6D2}" srcId="{536E8374-BBB8-40BB-ACBD-22E490121568}" destId="{1BA5EE7F-4070-4E9E-B8B6-BD4B8D58EE5C}" srcOrd="6" destOrd="0" parTransId="{3C7ED4CA-5575-4272-A589-2589A7C575D5}" sibTransId="{F78FC196-42E1-4B19-BD54-4AA49B580463}"/>
    <dgm:cxn modelId="{2F39A931-EE3B-44A1-AAE5-433188BFA0EB}" type="presOf" srcId="{1BA5EE7F-4070-4E9E-B8B6-BD4B8D58EE5C}" destId="{3A1E655C-B92A-437C-8DC9-2B8EAEF226E7}" srcOrd="0" destOrd="6" presId="urn:diagrams.loki3.com/BracketList"/>
    <dgm:cxn modelId="{C156DD3A-C5F2-46DF-A88A-44CACF1B7629}" srcId="{536E8374-BBB8-40BB-ACBD-22E490121568}" destId="{941C851F-B3D8-4C2B-9633-3F5F56CB2450}" srcOrd="4" destOrd="0" parTransId="{4E19503D-7CF8-4DCA-8CD8-C51D4F8F50D3}" sibTransId="{C83A477D-E7F8-43DC-8B76-DF4652C7060E}"/>
    <dgm:cxn modelId="{B3D9995B-C6DB-451E-B19F-E29A23881B0F}" type="presOf" srcId="{F57A0DCD-8DEF-4B2B-883A-90153368359D}" destId="{3A1E655C-B92A-437C-8DC9-2B8EAEF226E7}" srcOrd="0" destOrd="1" presId="urn:diagrams.loki3.com/BracketList"/>
    <dgm:cxn modelId="{E3290360-AFC2-4DA7-9497-8122BFFD029E}" type="presOf" srcId="{536E8374-BBB8-40BB-ACBD-22E490121568}" destId="{4DB363A3-D41F-44A2-ABA1-695F9BE86D45}" srcOrd="0" destOrd="0" presId="urn:diagrams.loki3.com/BracketList"/>
    <dgm:cxn modelId="{FE65D16E-DCA2-4115-ACFE-647A5D6EDADE}" srcId="{536E8374-BBB8-40BB-ACBD-22E490121568}" destId="{F57A0DCD-8DEF-4B2B-883A-90153368359D}" srcOrd="1" destOrd="0" parTransId="{58CE547D-E69E-4526-8ACD-47FA4EA1A8C3}" sibTransId="{9D2D13E1-D02B-4C30-8E88-CB689C520445}"/>
    <dgm:cxn modelId="{1C86CA74-23ED-4472-82C1-0FE206A10534}" type="presOf" srcId="{DCD8DB74-FBC0-4DBB-B07C-6738A24834F2}" destId="{71C37751-79FB-4065-B50A-1C9B4C91BBEF}" srcOrd="0" destOrd="0" presId="urn:diagrams.loki3.com/BracketList"/>
    <dgm:cxn modelId="{7CD95B76-7A67-4771-AB90-DE9F911F3838}" type="presOf" srcId="{941C851F-B3D8-4C2B-9633-3F5F56CB2450}" destId="{3A1E655C-B92A-437C-8DC9-2B8EAEF226E7}" srcOrd="0" destOrd="4" presId="urn:diagrams.loki3.com/BracketList"/>
    <dgm:cxn modelId="{D5522B8C-7A97-4E83-9E22-1DD83C6A0372}" srcId="{536E8374-BBB8-40BB-ACBD-22E490121568}" destId="{5F1236AC-AA50-4ED2-916A-1A04C4C76382}" srcOrd="0" destOrd="0" parTransId="{C334E57A-3E04-4C56-AC46-97DE0DC3E366}" sibTransId="{C7BD2103-697D-4FD6-A083-49FD8F955299}"/>
    <dgm:cxn modelId="{6F99168D-4F46-4E94-9337-FD26B5B4F145}" type="presOf" srcId="{01E1DF0C-A459-49AA-8F8D-34E69D8DBE3E}" destId="{AE1F84C3-6840-4EA2-9713-CA8A836FA8F8}" srcOrd="0" destOrd="0" presId="urn:diagrams.loki3.com/BracketList"/>
    <dgm:cxn modelId="{CF2E7E9B-58FC-4909-BF6F-74FC46AE6210}" type="presOf" srcId="{BA228436-D07D-44B4-8223-FFF56038C550}" destId="{3A1E655C-B92A-437C-8DC9-2B8EAEF226E7}" srcOrd="0" destOrd="3" presId="urn:diagrams.loki3.com/BracketList"/>
    <dgm:cxn modelId="{530542A5-7DB7-4D86-9540-9936E3C3C3D0}" srcId="{536E8374-BBB8-40BB-ACBD-22E490121568}" destId="{BA228436-D07D-44B4-8223-FFF56038C550}" srcOrd="3" destOrd="0" parTransId="{9B6ED04E-9607-4BF4-93BF-FA5A28C56599}" sibTransId="{6CC3F6A2-A82E-44C8-93F4-8B5A124C1C7E}"/>
    <dgm:cxn modelId="{F410DEB9-77F1-4123-99CA-44FC18D52BF8}" srcId="{DCD8DB74-FBC0-4DBB-B07C-6738A24834F2}" destId="{DABB1E94-B592-410B-B8F6-91B7D994984C}" srcOrd="0" destOrd="0" parTransId="{429D3EF1-2DD1-40EF-B99A-BE4A495DA3B5}" sibTransId="{C68247E8-2B6C-4869-BBC4-FAC7E8D0EA49}"/>
    <dgm:cxn modelId="{5AD439BA-3236-43C3-BCD9-04087B95458B}" srcId="{01E1DF0C-A459-49AA-8F8D-34E69D8DBE3E}" destId="{DCD8DB74-FBC0-4DBB-B07C-6738A24834F2}" srcOrd="1" destOrd="0" parTransId="{7CB41881-F182-40F7-8F8E-B75706EBE552}" sibTransId="{B3C034EA-CF88-45EB-902A-3E00A804E5B6}"/>
    <dgm:cxn modelId="{385D3FC0-0BDC-499D-B46B-0552F70F58EC}" type="presOf" srcId="{DABB1E94-B592-410B-B8F6-91B7D994984C}" destId="{A4880ACB-53CF-435F-88FE-D6EBA468A42F}" srcOrd="0" destOrd="0" presId="urn:diagrams.loki3.com/BracketList"/>
    <dgm:cxn modelId="{683B62C6-2C06-4BE0-AEAB-5A384946893C}" type="presOf" srcId="{0573F0D3-7052-4FFC-81F7-1D0E7620A6F5}" destId="{A4880ACB-53CF-435F-88FE-D6EBA468A42F}" srcOrd="0" destOrd="1" presId="urn:diagrams.loki3.com/BracketList"/>
    <dgm:cxn modelId="{9ABD9ED0-B4C4-43D2-A589-D88FB74A3121}" srcId="{DCD8DB74-FBC0-4DBB-B07C-6738A24834F2}" destId="{0573F0D3-7052-4FFC-81F7-1D0E7620A6F5}" srcOrd="1" destOrd="0" parTransId="{E5323597-34B5-42F9-AF33-CE02E8FA6B9E}" sibTransId="{BC0F8E5F-BC5D-4ACA-B7C6-9135E5A90D53}"/>
    <dgm:cxn modelId="{DD63DAD5-30AF-4445-A16E-A79375877AE9}" srcId="{536E8374-BBB8-40BB-ACBD-22E490121568}" destId="{481C8922-B41E-4C6B-BDA9-1D6B525A0BB0}" srcOrd="2" destOrd="0" parTransId="{AAC42CF7-6067-463B-A309-3C5E3F7E5225}" sibTransId="{88C15CB2-F459-4FF1-B72C-7D207AFC96B4}"/>
    <dgm:cxn modelId="{557C3FE0-5212-4E6B-B784-8DA9612E52D0}" type="presOf" srcId="{A486FF56-B0FE-44B3-9368-8688A91E8F5E}" destId="{3A1E655C-B92A-437C-8DC9-2B8EAEF226E7}" srcOrd="0" destOrd="5" presId="urn:diagrams.loki3.com/BracketList"/>
    <dgm:cxn modelId="{AFCD0FF0-6C76-458A-916A-E32B37E27CDE}" type="presOf" srcId="{481C8922-B41E-4C6B-BDA9-1D6B525A0BB0}" destId="{3A1E655C-B92A-437C-8DC9-2B8EAEF226E7}" srcOrd="0" destOrd="2" presId="urn:diagrams.loki3.com/BracketList"/>
    <dgm:cxn modelId="{75084F36-950A-4720-AF88-BCDD4D09BB95}" type="presParOf" srcId="{AE1F84C3-6840-4EA2-9713-CA8A836FA8F8}" destId="{69DDFF36-0DE3-4913-ACE2-2CD8F8629C4F}" srcOrd="0" destOrd="0" presId="urn:diagrams.loki3.com/BracketList"/>
    <dgm:cxn modelId="{4BF0E0F0-562E-4B08-BDF8-277B3F8423F2}" type="presParOf" srcId="{69DDFF36-0DE3-4913-ACE2-2CD8F8629C4F}" destId="{4DB363A3-D41F-44A2-ABA1-695F9BE86D45}" srcOrd="0" destOrd="0" presId="urn:diagrams.loki3.com/BracketList"/>
    <dgm:cxn modelId="{3F8E60FC-56C1-4B39-819A-3D78ECFA24CF}" type="presParOf" srcId="{69DDFF36-0DE3-4913-ACE2-2CD8F8629C4F}" destId="{BD6209AB-44E8-4D76-AE62-DB0EE8C975FC}" srcOrd="1" destOrd="0" presId="urn:diagrams.loki3.com/BracketList"/>
    <dgm:cxn modelId="{006F1D46-8A65-4E6E-BDF6-BD0FC5551273}" type="presParOf" srcId="{69DDFF36-0DE3-4913-ACE2-2CD8F8629C4F}" destId="{F3C99D61-FAD1-4643-98B6-B14AB40941A7}" srcOrd="2" destOrd="0" presId="urn:diagrams.loki3.com/BracketList"/>
    <dgm:cxn modelId="{8C532CD5-2A73-4CED-A259-68657666BEDA}" type="presParOf" srcId="{69DDFF36-0DE3-4913-ACE2-2CD8F8629C4F}" destId="{3A1E655C-B92A-437C-8DC9-2B8EAEF226E7}" srcOrd="3" destOrd="0" presId="urn:diagrams.loki3.com/BracketList"/>
    <dgm:cxn modelId="{BCB49FB8-82DD-478D-A1A9-4B13ECEFBB10}" type="presParOf" srcId="{AE1F84C3-6840-4EA2-9713-CA8A836FA8F8}" destId="{1B412CBA-2C09-4487-A4C4-2AC861D6CAEB}" srcOrd="1" destOrd="0" presId="urn:diagrams.loki3.com/BracketList"/>
    <dgm:cxn modelId="{F01A31A5-9ABE-456E-836B-6B7129D581D3}" type="presParOf" srcId="{AE1F84C3-6840-4EA2-9713-CA8A836FA8F8}" destId="{459F0331-5BAA-4A5D-971A-F606AAC3BAB5}" srcOrd="2" destOrd="0" presId="urn:diagrams.loki3.com/BracketList"/>
    <dgm:cxn modelId="{ADC957B3-8CA1-4DB6-A872-08925A3A63B8}" type="presParOf" srcId="{459F0331-5BAA-4A5D-971A-F606AAC3BAB5}" destId="{71C37751-79FB-4065-B50A-1C9B4C91BBEF}" srcOrd="0" destOrd="0" presId="urn:diagrams.loki3.com/BracketList"/>
    <dgm:cxn modelId="{6D287E99-82C5-43B0-9E50-E8AAA7414731}" type="presParOf" srcId="{459F0331-5BAA-4A5D-971A-F606AAC3BAB5}" destId="{207D6539-96BE-461E-B6DB-8DCF5E9ED570}" srcOrd="1" destOrd="0" presId="urn:diagrams.loki3.com/BracketList"/>
    <dgm:cxn modelId="{8A296F35-CCBF-4A6B-BF9A-C6E9B9D2C971}" type="presParOf" srcId="{459F0331-5BAA-4A5D-971A-F606AAC3BAB5}" destId="{8CE280C7-0103-40CA-B397-DB416F24D84C}" srcOrd="2" destOrd="0" presId="urn:diagrams.loki3.com/BracketList"/>
    <dgm:cxn modelId="{70E61067-B210-4863-8B0E-C4F7EFB39351}" type="presParOf" srcId="{459F0331-5BAA-4A5D-971A-F606AAC3BAB5}" destId="{A4880ACB-53CF-435F-88FE-D6EBA468A42F}" srcOrd="3" destOrd="0" presId="urn:diagrams.loki3.com/Bracke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E1DF0C-A459-49AA-8F8D-34E69D8DBE3E}"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536E8374-BBB8-40BB-ACBD-22E490121568}">
      <dgm:prSet custT="1"/>
      <dgm:spPr/>
      <dgm:t>
        <a:bodyPr/>
        <a:lstStyle/>
        <a:p>
          <a:r>
            <a:rPr lang="en-US" sz="1800" dirty="0"/>
            <a:t>Module 7: SQL Server Query Execution and Plans</a:t>
          </a:r>
          <a:endParaRPr lang="en-US" sz="1800" baseline="0" dirty="0"/>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E0AB399A-081B-48DD-9A9D-0EE6F1F25C48}">
      <dgm:prSet custT="1"/>
      <dgm:spPr/>
      <dgm:t>
        <a:bodyPr/>
        <a:lstStyle/>
        <a:p>
          <a:r>
            <a:rPr lang="en-US" sz="1800" dirty="0"/>
            <a:t>Query Execution Plans</a:t>
          </a:r>
        </a:p>
      </dgm:t>
    </dgm:pt>
    <dgm:pt modelId="{25CA0613-09D4-4F04-BA2C-2051E18CAD52}" type="parTrans" cxnId="{7DF4FF33-CAF1-41AC-87CC-387EA1AD6855}">
      <dgm:prSet/>
      <dgm:spPr/>
      <dgm:t>
        <a:bodyPr/>
        <a:lstStyle/>
        <a:p>
          <a:endParaRPr lang="en-US"/>
        </a:p>
      </dgm:t>
    </dgm:pt>
    <dgm:pt modelId="{75FC4EC6-99B8-4833-AD5D-7F98A25D5977}" type="sibTrans" cxnId="{7DF4FF33-CAF1-41AC-87CC-387EA1AD6855}">
      <dgm:prSet/>
      <dgm:spPr/>
      <dgm:t>
        <a:bodyPr/>
        <a:lstStyle/>
        <a:p>
          <a:endParaRPr lang="en-US"/>
        </a:p>
      </dgm:t>
    </dgm:pt>
    <dgm:pt modelId="{1903D1CF-C6AC-4D7D-842F-F8CC3BB03E18}">
      <dgm:prSet custT="1"/>
      <dgm:spPr/>
      <dgm:t>
        <a:bodyPr/>
        <a:lstStyle/>
        <a:p>
          <a:r>
            <a:rPr lang="en-US" sz="1800" dirty="0"/>
            <a:t>Query Plan Operators</a:t>
          </a:r>
        </a:p>
      </dgm:t>
    </dgm:pt>
    <dgm:pt modelId="{A542C15C-32EB-4D80-97A2-43287051F319}" type="parTrans" cxnId="{FB2EFF77-672B-498D-83CA-98F5B3C79B74}">
      <dgm:prSet/>
      <dgm:spPr/>
      <dgm:t>
        <a:bodyPr/>
        <a:lstStyle/>
        <a:p>
          <a:endParaRPr lang="en-US"/>
        </a:p>
      </dgm:t>
    </dgm:pt>
    <dgm:pt modelId="{1D603B2A-042C-45B5-ABC9-F704F00336DB}" type="sibTrans" cxnId="{FB2EFF77-672B-498D-83CA-98F5B3C79B74}">
      <dgm:prSet/>
      <dgm:spPr/>
      <dgm:t>
        <a:bodyPr/>
        <a:lstStyle/>
        <a:p>
          <a:endParaRPr lang="en-US"/>
        </a:p>
      </dgm:t>
    </dgm:pt>
    <dgm:pt modelId="{0A1E147D-E204-4E6E-A023-713B0DC1C120}">
      <dgm:prSet custT="1"/>
      <dgm:spPr/>
      <dgm:t>
        <a:bodyPr/>
        <a:lstStyle/>
        <a:p>
          <a:r>
            <a:rPr lang="en-US" sz="1800" dirty="0"/>
            <a:t>Module 8: SQL Server Plan Caching and Query Store</a:t>
          </a:r>
        </a:p>
      </dgm:t>
    </dgm:pt>
    <dgm:pt modelId="{2C2500AB-7F12-4DC0-849D-F0282590C813}" type="parTrans" cxnId="{05E73B45-8631-4790-A14F-C4CE946B2FA5}">
      <dgm:prSet/>
      <dgm:spPr/>
      <dgm:t>
        <a:bodyPr/>
        <a:lstStyle/>
        <a:p>
          <a:endParaRPr lang="en-US"/>
        </a:p>
      </dgm:t>
    </dgm:pt>
    <dgm:pt modelId="{4DF2E829-8034-49CD-AF82-E802A2DCD92E}" type="sibTrans" cxnId="{05E73B45-8631-4790-A14F-C4CE946B2FA5}">
      <dgm:prSet/>
      <dgm:spPr/>
      <dgm:t>
        <a:bodyPr/>
        <a:lstStyle/>
        <a:p>
          <a:endParaRPr lang="en-US"/>
        </a:p>
      </dgm:t>
    </dgm:pt>
    <dgm:pt modelId="{E9A6ECFC-3767-4D25-9702-D414D5A09791}">
      <dgm:prSet custT="1"/>
      <dgm:spPr/>
      <dgm:t>
        <a:bodyPr/>
        <a:lstStyle/>
        <a:p>
          <a:r>
            <a:rPr lang="en-US" sz="1800" dirty="0"/>
            <a:t>SQL Server Plan Cache Internals</a:t>
          </a:r>
        </a:p>
      </dgm:t>
    </dgm:pt>
    <dgm:pt modelId="{953419ED-22A1-425B-B7A7-3D34378C0379}" type="parTrans" cxnId="{B21974C9-DC31-4440-ABE8-9BEA14D651E9}">
      <dgm:prSet/>
      <dgm:spPr/>
      <dgm:t>
        <a:bodyPr/>
        <a:lstStyle/>
        <a:p>
          <a:endParaRPr lang="en-US"/>
        </a:p>
      </dgm:t>
    </dgm:pt>
    <dgm:pt modelId="{54413B34-AD6F-47EE-AC8C-1564016D6592}" type="sibTrans" cxnId="{B21974C9-DC31-4440-ABE8-9BEA14D651E9}">
      <dgm:prSet/>
      <dgm:spPr/>
      <dgm:t>
        <a:bodyPr/>
        <a:lstStyle/>
        <a:p>
          <a:endParaRPr lang="en-US"/>
        </a:p>
      </dgm:t>
    </dgm:pt>
    <dgm:pt modelId="{6C4555E3-81B4-44F1-B190-FFE69502F169}">
      <dgm:prSet custT="1"/>
      <dgm:spPr/>
      <dgm:t>
        <a:bodyPr/>
        <a:lstStyle/>
        <a:p>
          <a:r>
            <a:rPr lang="en-US" sz="1800" dirty="0"/>
            <a:t>Query Store Troubleshooting</a:t>
          </a:r>
        </a:p>
      </dgm:t>
    </dgm:pt>
    <dgm:pt modelId="{110706B1-6532-44DD-B4D5-0B9129A3484E}" type="parTrans" cxnId="{3B15B8CC-4786-4641-B617-D3F6E27C72C1}">
      <dgm:prSet/>
      <dgm:spPr/>
      <dgm:t>
        <a:bodyPr/>
        <a:lstStyle/>
        <a:p>
          <a:endParaRPr lang="en-US"/>
        </a:p>
      </dgm:t>
    </dgm:pt>
    <dgm:pt modelId="{ECC6F3B4-DF11-49DC-85DC-531FD6801394}" type="sibTrans" cxnId="{3B15B8CC-4786-4641-B617-D3F6E27C72C1}">
      <dgm:prSet/>
      <dgm:spPr/>
      <dgm:t>
        <a:bodyPr/>
        <a:lstStyle/>
        <a:p>
          <a:endParaRPr lang="en-US"/>
        </a:p>
      </dgm:t>
    </dgm:pt>
    <dgm:pt modelId="{8A877C9E-B130-4CB0-A2B6-CA33D86D5C5A}">
      <dgm:prSet custT="1"/>
      <dgm:spPr/>
      <dgm:t>
        <a:bodyPr/>
        <a:lstStyle/>
        <a:p>
          <a:r>
            <a:rPr lang="en-US" sz="1800" dirty="0"/>
            <a:t>Query Optimization and Compilation</a:t>
          </a:r>
        </a:p>
      </dgm:t>
    </dgm:pt>
    <dgm:pt modelId="{FCC4B930-DA17-45A0-91A8-7A3FD444F6CC}" type="parTrans" cxnId="{2D813156-F180-41F4-A860-46680DD0DA0D}">
      <dgm:prSet/>
      <dgm:spPr/>
      <dgm:t>
        <a:bodyPr/>
        <a:lstStyle/>
        <a:p>
          <a:endParaRPr lang="en-US"/>
        </a:p>
      </dgm:t>
    </dgm:pt>
    <dgm:pt modelId="{F722C230-E943-4085-ACC9-76F6000BD732}" type="sibTrans" cxnId="{2D813156-F180-41F4-A860-46680DD0DA0D}">
      <dgm:prSet/>
      <dgm:spPr/>
      <dgm:t>
        <a:bodyPr/>
        <a:lstStyle/>
        <a:p>
          <a:endParaRPr lang="en-US"/>
        </a:p>
      </dgm:t>
    </dgm:pt>
    <dgm:pt modelId="{FED11A72-EC4E-45A4-8C4D-F0FEA43EDA62}">
      <dgm:prSet custT="1"/>
      <dgm:spPr/>
      <dgm:t>
        <a:bodyPr/>
        <a:lstStyle/>
        <a:p>
          <a:r>
            <a:rPr lang="en-US" sz="1800" dirty="0"/>
            <a:t>Logical vs Physical Join Operators</a:t>
          </a:r>
        </a:p>
      </dgm:t>
    </dgm:pt>
    <dgm:pt modelId="{8CFA4F0E-1033-4FD5-978B-22C0986FD33D}" type="parTrans" cxnId="{D09A9535-55A1-4F39-B97E-9F399581A968}">
      <dgm:prSet/>
      <dgm:spPr/>
      <dgm:t>
        <a:bodyPr/>
        <a:lstStyle/>
        <a:p>
          <a:endParaRPr lang="en-US"/>
        </a:p>
      </dgm:t>
    </dgm:pt>
    <dgm:pt modelId="{1AB242B0-41B5-464B-A285-F39AD9BDF38E}" type="sibTrans" cxnId="{D09A9535-55A1-4F39-B97E-9F399581A968}">
      <dgm:prSet/>
      <dgm:spPr/>
      <dgm:t>
        <a:bodyPr/>
        <a:lstStyle/>
        <a:p>
          <a:endParaRPr lang="en-US"/>
        </a:p>
      </dgm:t>
    </dgm:pt>
    <dgm:pt modelId="{6ED4B20B-173D-42E1-B17A-9662C5B9E8B7}">
      <dgm:prSet custT="1"/>
      <dgm:spPr/>
      <dgm:t>
        <a:bodyPr/>
        <a:lstStyle/>
        <a:p>
          <a:r>
            <a:rPr lang="en-US" sz="1800" dirty="0"/>
            <a:t>Troubleshooting Query Plans</a:t>
          </a:r>
        </a:p>
      </dgm:t>
    </dgm:pt>
    <dgm:pt modelId="{1CE60E32-D3D7-4606-BF36-909C43A25D9E}" type="parTrans" cxnId="{68B7C4DC-5686-4FD6-8125-838B5C40E1AA}">
      <dgm:prSet/>
      <dgm:spPr/>
      <dgm:t>
        <a:bodyPr/>
        <a:lstStyle/>
        <a:p>
          <a:endParaRPr lang="en-US"/>
        </a:p>
      </dgm:t>
    </dgm:pt>
    <dgm:pt modelId="{15E7B703-4D8C-4663-83B2-A7643422B21E}" type="sibTrans" cxnId="{68B7C4DC-5686-4FD6-8125-838B5C40E1AA}">
      <dgm:prSet/>
      <dgm:spPr/>
      <dgm:t>
        <a:bodyPr/>
        <a:lstStyle/>
        <a:p>
          <a:endParaRPr lang="en-US"/>
        </a:p>
      </dgm:t>
    </dgm:pt>
    <dgm:pt modelId="{414C220D-176E-4B48-AA0E-71DDCCE3E3F8}">
      <dgm:prSet custT="1"/>
      <dgm:spPr/>
      <dgm:t>
        <a:bodyPr/>
        <a:lstStyle/>
        <a:p>
          <a:r>
            <a:rPr lang="en-US" sz="1800" dirty="0"/>
            <a:t>Reading Execution Plans</a:t>
          </a:r>
        </a:p>
      </dgm:t>
    </dgm:pt>
    <dgm:pt modelId="{5F22611F-D735-4929-A709-CDCE4B98A8D3}" type="parTrans" cxnId="{8D0D4006-F8DE-4FBC-A8EC-945DA7704AAA}">
      <dgm:prSet/>
      <dgm:spPr/>
      <dgm:t>
        <a:bodyPr/>
        <a:lstStyle/>
        <a:p>
          <a:endParaRPr lang="en-US"/>
        </a:p>
      </dgm:t>
    </dgm:pt>
    <dgm:pt modelId="{89151047-CD42-42A1-BDE2-31BD4E756B83}" type="sibTrans" cxnId="{8D0D4006-F8DE-4FBC-A8EC-945DA7704AAA}">
      <dgm:prSet/>
      <dgm:spPr/>
      <dgm:t>
        <a:bodyPr/>
        <a:lstStyle/>
        <a:p>
          <a:endParaRPr lang="en-US"/>
        </a:p>
      </dgm:t>
    </dgm:pt>
    <dgm:pt modelId="{0FC7654D-4139-47BD-8D74-92A32094B8E0}">
      <dgm:prSet custT="1"/>
      <dgm:spPr/>
      <dgm:t>
        <a:bodyPr/>
        <a:lstStyle/>
        <a:p>
          <a:r>
            <a:rPr lang="en-US" sz="1800" dirty="0"/>
            <a:t>Module 9: SQL Server Query Tuning</a:t>
          </a:r>
        </a:p>
      </dgm:t>
    </dgm:pt>
    <dgm:pt modelId="{3C4D792C-7946-48D1-958C-EA4A310B5E4F}" type="parTrans" cxnId="{922CDB1F-961A-44C5-88AF-0CAEC7EF4BDE}">
      <dgm:prSet/>
      <dgm:spPr/>
      <dgm:t>
        <a:bodyPr/>
        <a:lstStyle/>
        <a:p>
          <a:endParaRPr lang="en-US"/>
        </a:p>
      </dgm:t>
    </dgm:pt>
    <dgm:pt modelId="{CF10AB31-C0FF-4751-8535-05367D139E76}" type="sibTrans" cxnId="{922CDB1F-961A-44C5-88AF-0CAEC7EF4BDE}">
      <dgm:prSet/>
      <dgm:spPr/>
      <dgm:t>
        <a:bodyPr/>
        <a:lstStyle/>
        <a:p>
          <a:endParaRPr lang="en-US"/>
        </a:p>
      </dgm:t>
    </dgm:pt>
    <dgm:pt modelId="{353A1A99-78FF-4ADF-ACAF-A7B006D2AED2}">
      <dgm:prSet custT="1"/>
      <dgm:spPr/>
      <dgm:t>
        <a:bodyPr/>
        <a:lstStyle/>
        <a:p>
          <a:r>
            <a:rPr lang="fr-FR" sz="1800" dirty="0"/>
            <a:t>Sargable expressions</a:t>
          </a:r>
          <a:endParaRPr lang="en-US" sz="1800" dirty="0"/>
        </a:p>
      </dgm:t>
    </dgm:pt>
    <dgm:pt modelId="{EC3F875B-6489-490F-AC6D-80732B1337B3}" type="parTrans" cxnId="{FDFB0D21-8B9F-4BCE-8FA5-4F87C7C4C1A3}">
      <dgm:prSet/>
      <dgm:spPr/>
      <dgm:t>
        <a:bodyPr/>
        <a:lstStyle/>
        <a:p>
          <a:endParaRPr lang="en-US"/>
        </a:p>
      </dgm:t>
    </dgm:pt>
    <dgm:pt modelId="{66B877F2-D88E-4DF4-9ACB-63BAEF5C330F}" type="sibTrans" cxnId="{FDFB0D21-8B9F-4BCE-8FA5-4F87C7C4C1A3}">
      <dgm:prSet/>
      <dgm:spPr/>
      <dgm:t>
        <a:bodyPr/>
        <a:lstStyle/>
        <a:p>
          <a:endParaRPr lang="en-US"/>
        </a:p>
      </dgm:t>
    </dgm:pt>
    <dgm:pt modelId="{1E88A2C7-76A2-49CB-AE23-52527F58B3A6}">
      <dgm:prSet custT="1"/>
      <dgm:spPr/>
      <dgm:t>
        <a:bodyPr/>
        <a:lstStyle/>
        <a:p>
          <a:r>
            <a:rPr lang="en-US" sz="1800" noProof="0" dirty="0"/>
            <a:t>Extended Events </a:t>
          </a:r>
          <a:endParaRPr lang="en-US" sz="1800" dirty="0"/>
        </a:p>
      </dgm:t>
    </dgm:pt>
    <dgm:pt modelId="{FF6EC774-2A69-448B-9ED4-C0C2FD1403EE}" type="parTrans" cxnId="{CB124B36-A388-47C9-B7AE-517F5B9ABC27}">
      <dgm:prSet/>
      <dgm:spPr/>
      <dgm:t>
        <a:bodyPr/>
        <a:lstStyle/>
        <a:p>
          <a:endParaRPr lang="en-US"/>
        </a:p>
      </dgm:t>
    </dgm:pt>
    <dgm:pt modelId="{D3DDC64C-8385-4E15-B406-6986AA63D7EC}" type="sibTrans" cxnId="{CB124B36-A388-47C9-B7AE-517F5B9ABC27}">
      <dgm:prSet/>
      <dgm:spPr/>
      <dgm:t>
        <a:bodyPr/>
        <a:lstStyle/>
        <a:p>
          <a:endParaRPr lang="en-US"/>
        </a:p>
      </dgm:t>
    </dgm:pt>
    <dgm:pt modelId="{18D051A4-E332-4A3C-A805-4064C9B6E0A5}">
      <dgm:prSet custT="1"/>
      <dgm:spPr/>
      <dgm:t>
        <a:bodyPr/>
        <a:lstStyle/>
        <a:p>
          <a:r>
            <a:rPr lang="en-US" sz="1800" dirty="0"/>
            <a:t>Overview of Intelligent Query Processing (IQP)</a:t>
          </a:r>
        </a:p>
      </dgm:t>
    </dgm:pt>
    <dgm:pt modelId="{A271E91C-B6D0-43A7-8337-345CA9850246}" type="parTrans" cxnId="{2643C99A-658F-4487-A2CF-FCB88D1C7F13}">
      <dgm:prSet/>
      <dgm:spPr/>
      <dgm:t>
        <a:bodyPr/>
        <a:lstStyle/>
        <a:p>
          <a:endParaRPr lang="en-US"/>
        </a:p>
      </dgm:t>
    </dgm:pt>
    <dgm:pt modelId="{01A26F07-1860-42FE-B60C-9CB6EB707444}" type="sibTrans" cxnId="{2643C99A-658F-4487-A2CF-FCB88D1C7F13}">
      <dgm:prSet/>
      <dgm:spPr/>
      <dgm:t>
        <a:bodyPr/>
        <a:lstStyle/>
        <a:p>
          <a:endParaRPr lang="en-US"/>
        </a:p>
      </dgm:t>
    </dgm:pt>
    <dgm:pt modelId="{1F408972-C7CC-4FEC-BB81-42773F4BDA9E}" type="pres">
      <dgm:prSet presAssocID="{01E1DF0C-A459-49AA-8F8D-34E69D8DBE3E}" presName="Name0" presStyleCnt="0">
        <dgm:presLayoutVars>
          <dgm:dir/>
          <dgm:animLvl val="lvl"/>
          <dgm:resizeHandles val="exact"/>
        </dgm:presLayoutVars>
      </dgm:prSet>
      <dgm:spPr/>
    </dgm:pt>
    <dgm:pt modelId="{4336211A-03CD-4A00-A172-33BEBFC9EDA9}" type="pres">
      <dgm:prSet presAssocID="{536E8374-BBB8-40BB-ACBD-22E490121568}" presName="linNode" presStyleCnt="0"/>
      <dgm:spPr/>
    </dgm:pt>
    <dgm:pt modelId="{0F48ED21-CB6B-476A-B8AA-288A88FE13E9}" type="pres">
      <dgm:prSet presAssocID="{536E8374-BBB8-40BB-ACBD-22E490121568}" presName="parTx" presStyleLbl="revTx" presStyleIdx="0" presStyleCnt="3">
        <dgm:presLayoutVars>
          <dgm:chMax val="1"/>
          <dgm:bulletEnabled val="1"/>
        </dgm:presLayoutVars>
      </dgm:prSet>
      <dgm:spPr/>
    </dgm:pt>
    <dgm:pt modelId="{916F0FA3-6884-4BC2-972C-A7ABE6546B2A}" type="pres">
      <dgm:prSet presAssocID="{536E8374-BBB8-40BB-ACBD-22E490121568}" presName="bracket" presStyleLbl="parChTrans1D1" presStyleIdx="0" presStyleCnt="3"/>
      <dgm:spPr/>
    </dgm:pt>
    <dgm:pt modelId="{F5FA1D44-0CEB-4BB5-A6DE-9C09E1C6CEF7}" type="pres">
      <dgm:prSet presAssocID="{536E8374-BBB8-40BB-ACBD-22E490121568}" presName="spH" presStyleCnt="0"/>
      <dgm:spPr/>
    </dgm:pt>
    <dgm:pt modelId="{1C511419-C5F7-4E55-BC4E-EC06D892EA02}" type="pres">
      <dgm:prSet presAssocID="{536E8374-BBB8-40BB-ACBD-22E490121568}" presName="desTx" presStyleLbl="node1" presStyleIdx="0" presStyleCnt="3">
        <dgm:presLayoutVars>
          <dgm:bulletEnabled val="1"/>
        </dgm:presLayoutVars>
      </dgm:prSet>
      <dgm:spPr/>
    </dgm:pt>
    <dgm:pt modelId="{B0A58084-78EF-4BDA-B977-1F5FAD102B82}" type="pres">
      <dgm:prSet presAssocID="{498D443E-B527-4599-8CF9-E9DC179B3CE3}" presName="spV" presStyleCnt="0"/>
      <dgm:spPr/>
    </dgm:pt>
    <dgm:pt modelId="{ED293D84-FB9C-42C1-B037-097B9F50A6DD}" type="pres">
      <dgm:prSet presAssocID="{0A1E147D-E204-4E6E-A023-713B0DC1C120}" presName="linNode" presStyleCnt="0"/>
      <dgm:spPr/>
    </dgm:pt>
    <dgm:pt modelId="{C7CDD9B6-1508-4891-9A0F-3071FFFB55A0}" type="pres">
      <dgm:prSet presAssocID="{0A1E147D-E204-4E6E-A023-713B0DC1C120}" presName="parTx" presStyleLbl="revTx" presStyleIdx="1" presStyleCnt="3">
        <dgm:presLayoutVars>
          <dgm:chMax val="1"/>
          <dgm:bulletEnabled val="1"/>
        </dgm:presLayoutVars>
      </dgm:prSet>
      <dgm:spPr/>
    </dgm:pt>
    <dgm:pt modelId="{7EDF9BE2-AA58-4A7F-852E-083E7805082E}" type="pres">
      <dgm:prSet presAssocID="{0A1E147D-E204-4E6E-A023-713B0DC1C120}" presName="bracket" presStyleLbl="parChTrans1D1" presStyleIdx="1" presStyleCnt="3"/>
      <dgm:spPr/>
    </dgm:pt>
    <dgm:pt modelId="{14AB8374-76F6-4394-8CD9-26AB0C20052E}" type="pres">
      <dgm:prSet presAssocID="{0A1E147D-E204-4E6E-A023-713B0DC1C120}" presName="spH" presStyleCnt="0"/>
      <dgm:spPr/>
    </dgm:pt>
    <dgm:pt modelId="{D09E0A73-AE84-4830-910B-537B2E310296}" type="pres">
      <dgm:prSet presAssocID="{0A1E147D-E204-4E6E-A023-713B0DC1C120}" presName="desTx" presStyleLbl="node1" presStyleIdx="1" presStyleCnt="3">
        <dgm:presLayoutVars>
          <dgm:bulletEnabled val="1"/>
        </dgm:presLayoutVars>
      </dgm:prSet>
      <dgm:spPr/>
    </dgm:pt>
    <dgm:pt modelId="{E1B5D430-8163-412E-BF44-F0D002B3924D}" type="pres">
      <dgm:prSet presAssocID="{4DF2E829-8034-49CD-AF82-E802A2DCD92E}" presName="spV" presStyleCnt="0"/>
      <dgm:spPr/>
    </dgm:pt>
    <dgm:pt modelId="{58F09FD3-18A1-4746-AD76-0517D64829DC}" type="pres">
      <dgm:prSet presAssocID="{0FC7654D-4139-47BD-8D74-92A32094B8E0}" presName="linNode" presStyleCnt="0"/>
      <dgm:spPr/>
    </dgm:pt>
    <dgm:pt modelId="{3624D1A5-637F-44C9-B0C4-5BF0423A964B}" type="pres">
      <dgm:prSet presAssocID="{0FC7654D-4139-47BD-8D74-92A32094B8E0}" presName="parTx" presStyleLbl="revTx" presStyleIdx="2" presStyleCnt="3">
        <dgm:presLayoutVars>
          <dgm:chMax val="1"/>
          <dgm:bulletEnabled val="1"/>
        </dgm:presLayoutVars>
      </dgm:prSet>
      <dgm:spPr/>
    </dgm:pt>
    <dgm:pt modelId="{87FBE7A5-D0D7-434B-87E7-D33181E66223}" type="pres">
      <dgm:prSet presAssocID="{0FC7654D-4139-47BD-8D74-92A32094B8E0}" presName="bracket" presStyleLbl="parChTrans1D1" presStyleIdx="2" presStyleCnt="3"/>
      <dgm:spPr/>
    </dgm:pt>
    <dgm:pt modelId="{DF016C67-AA8E-4319-BFCF-80F6CF05DC20}" type="pres">
      <dgm:prSet presAssocID="{0FC7654D-4139-47BD-8D74-92A32094B8E0}" presName="spH" presStyleCnt="0"/>
      <dgm:spPr/>
    </dgm:pt>
    <dgm:pt modelId="{6E75B8A3-1B62-4D87-BD49-CA075CCD4DB3}" type="pres">
      <dgm:prSet presAssocID="{0FC7654D-4139-47BD-8D74-92A32094B8E0}" presName="desTx" presStyleLbl="node1" presStyleIdx="2" presStyleCnt="3">
        <dgm:presLayoutVars>
          <dgm:bulletEnabled val="1"/>
        </dgm:presLayoutVars>
      </dgm:prSet>
      <dgm:spPr/>
    </dgm:pt>
  </dgm:ptLst>
  <dgm:cxnLst>
    <dgm:cxn modelId="{58207300-1ADD-40A0-96F5-F59F0C27B3E2}" srcId="{01E1DF0C-A459-49AA-8F8D-34E69D8DBE3E}" destId="{536E8374-BBB8-40BB-ACBD-22E490121568}" srcOrd="0" destOrd="0" parTransId="{46BC945B-9D04-47F7-8FCB-0B9C69EF93ED}" sibTransId="{498D443E-B527-4599-8CF9-E9DC179B3CE3}"/>
    <dgm:cxn modelId="{8D0D4006-F8DE-4FBC-A8EC-945DA7704AAA}" srcId="{536E8374-BBB8-40BB-ACBD-22E490121568}" destId="{414C220D-176E-4B48-AA0E-71DDCCE3E3F8}" srcOrd="2" destOrd="0" parTransId="{5F22611F-D735-4929-A709-CDCE4B98A8D3}" sibTransId="{89151047-CD42-42A1-BDE2-31BD4E756B83}"/>
    <dgm:cxn modelId="{66A1AE12-466C-4EFF-9503-C3A383084C17}" type="presOf" srcId="{414C220D-176E-4B48-AA0E-71DDCCE3E3F8}" destId="{1C511419-C5F7-4E55-BC4E-EC06D892EA02}" srcOrd="0" destOrd="2" presId="urn:diagrams.loki3.com/BracketList"/>
    <dgm:cxn modelId="{240E4913-461C-4F43-8ABD-F6162DAF3F87}" type="presOf" srcId="{1903D1CF-C6AC-4D7D-842F-F8CC3BB03E18}" destId="{1C511419-C5F7-4E55-BC4E-EC06D892EA02}" srcOrd="0" destOrd="3" presId="urn:diagrams.loki3.com/BracketList"/>
    <dgm:cxn modelId="{B705C113-E8F4-4EED-8331-60D690713B96}" type="presOf" srcId="{1E88A2C7-76A2-49CB-AE23-52527F58B3A6}" destId="{6E75B8A3-1B62-4D87-BD49-CA075CCD4DB3}" srcOrd="0" destOrd="1" presId="urn:diagrams.loki3.com/BracketList"/>
    <dgm:cxn modelId="{922CDB1F-961A-44C5-88AF-0CAEC7EF4BDE}" srcId="{01E1DF0C-A459-49AA-8F8D-34E69D8DBE3E}" destId="{0FC7654D-4139-47BD-8D74-92A32094B8E0}" srcOrd="2" destOrd="0" parTransId="{3C4D792C-7946-48D1-958C-EA4A310B5E4F}" sibTransId="{CF10AB31-C0FF-4751-8535-05367D139E76}"/>
    <dgm:cxn modelId="{FDFB0D21-8B9F-4BCE-8FA5-4F87C7C4C1A3}" srcId="{0FC7654D-4139-47BD-8D74-92A32094B8E0}" destId="{353A1A99-78FF-4ADF-ACAF-A7B006D2AED2}" srcOrd="0" destOrd="0" parTransId="{EC3F875B-6489-490F-AC6D-80732B1337B3}" sibTransId="{66B877F2-D88E-4DF4-9ACB-63BAEF5C330F}"/>
    <dgm:cxn modelId="{1C233E25-0D22-42CD-B6C7-3AE01D810EEB}" type="presOf" srcId="{6ED4B20B-173D-42E1-B17A-9662C5B9E8B7}" destId="{1C511419-C5F7-4E55-BC4E-EC06D892EA02}" srcOrd="0" destOrd="5" presId="urn:diagrams.loki3.com/BracketList"/>
    <dgm:cxn modelId="{7DF4FF33-CAF1-41AC-87CC-387EA1AD6855}" srcId="{536E8374-BBB8-40BB-ACBD-22E490121568}" destId="{E0AB399A-081B-48DD-9A9D-0EE6F1F25C48}" srcOrd="1" destOrd="0" parTransId="{25CA0613-09D4-4F04-BA2C-2051E18CAD52}" sibTransId="{75FC4EC6-99B8-4833-AD5D-7F98A25D5977}"/>
    <dgm:cxn modelId="{D09A9535-55A1-4F39-B97E-9F399581A968}" srcId="{536E8374-BBB8-40BB-ACBD-22E490121568}" destId="{FED11A72-EC4E-45A4-8C4D-F0FEA43EDA62}" srcOrd="4" destOrd="0" parTransId="{8CFA4F0E-1033-4FD5-978B-22C0986FD33D}" sibTransId="{1AB242B0-41B5-464B-A285-F39AD9BDF38E}"/>
    <dgm:cxn modelId="{CB124B36-A388-47C9-B7AE-517F5B9ABC27}" srcId="{0FC7654D-4139-47BD-8D74-92A32094B8E0}" destId="{1E88A2C7-76A2-49CB-AE23-52527F58B3A6}" srcOrd="1" destOrd="0" parTransId="{FF6EC774-2A69-448B-9ED4-C0C2FD1403EE}" sibTransId="{D3DDC64C-8385-4E15-B406-6986AA63D7EC}"/>
    <dgm:cxn modelId="{BB5F6C37-2627-4A1F-AA69-E248D3B356BB}" type="presOf" srcId="{FED11A72-EC4E-45A4-8C4D-F0FEA43EDA62}" destId="{1C511419-C5F7-4E55-BC4E-EC06D892EA02}" srcOrd="0" destOrd="4" presId="urn:diagrams.loki3.com/BracketList"/>
    <dgm:cxn modelId="{D323483B-494E-42DF-AB72-F3D4A060F3CB}" type="presOf" srcId="{536E8374-BBB8-40BB-ACBD-22E490121568}" destId="{0F48ED21-CB6B-476A-B8AA-288A88FE13E9}" srcOrd="0" destOrd="0" presId="urn:diagrams.loki3.com/BracketList"/>
    <dgm:cxn modelId="{05E73B45-8631-4790-A14F-C4CE946B2FA5}" srcId="{01E1DF0C-A459-49AA-8F8D-34E69D8DBE3E}" destId="{0A1E147D-E204-4E6E-A023-713B0DC1C120}" srcOrd="1" destOrd="0" parTransId="{2C2500AB-7F12-4DC0-849D-F0282590C813}" sibTransId="{4DF2E829-8034-49CD-AF82-E802A2DCD92E}"/>
    <dgm:cxn modelId="{B30FBD4C-891F-4544-8F59-5744711E21F1}" type="presOf" srcId="{0FC7654D-4139-47BD-8D74-92A32094B8E0}" destId="{3624D1A5-637F-44C9-B0C4-5BF0423A964B}" srcOrd="0" destOrd="0" presId="urn:diagrams.loki3.com/BracketList"/>
    <dgm:cxn modelId="{914DFB6D-A1AB-406C-A882-BC2ECD827A54}" type="presOf" srcId="{01E1DF0C-A459-49AA-8F8D-34E69D8DBE3E}" destId="{1F408972-C7CC-4FEC-BB81-42773F4BDA9E}" srcOrd="0" destOrd="0" presId="urn:diagrams.loki3.com/BracketList"/>
    <dgm:cxn modelId="{0ADC7452-60AD-464F-A745-E9BE7F2DBF5C}" type="presOf" srcId="{0A1E147D-E204-4E6E-A023-713B0DC1C120}" destId="{C7CDD9B6-1508-4891-9A0F-3071FFFB55A0}" srcOrd="0" destOrd="0" presId="urn:diagrams.loki3.com/BracketList"/>
    <dgm:cxn modelId="{2D813156-F180-41F4-A860-46680DD0DA0D}" srcId="{536E8374-BBB8-40BB-ACBD-22E490121568}" destId="{8A877C9E-B130-4CB0-A2B6-CA33D86D5C5A}" srcOrd="0" destOrd="0" parTransId="{FCC4B930-DA17-45A0-91A8-7A3FD444F6CC}" sibTransId="{F722C230-E943-4085-ACC9-76F6000BD732}"/>
    <dgm:cxn modelId="{FB2EFF77-672B-498D-83CA-98F5B3C79B74}" srcId="{536E8374-BBB8-40BB-ACBD-22E490121568}" destId="{1903D1CF-C6AC-4D7D-842F-F8CC3BB03E18}" srcOrd="3" destOrd="0" parTransId="{A542C15C-32EB-4D80-97A2-43287051F319}" sibTransId="{1D603B2A-042C-45B5-ABC9-F704F00336DB}"/>
    <dgm:cxn modelId="{9FA0F788-E5B7-4D98-B317-36D822117730}" type="presOf" srcId="{18D051A4-E332-4A3C-A805-4064C9B6E0A5}" destId="{D09E0A73-AE84-4830-910B-537B2E310296}" srcOrd="0" destOrd="2" presId="urn:diagrams.loki3.com/BracketList"/>
    <dgm:cxn modelId="{EE038B93-46DC-48E0-AABE-6E497830298E}" type="presOf" srcId="{E9A6ECFC-3767-4D25-9702-D414D5A09791}" destId="{D09E0A73-AE84-4830-910B-537B2E310296}" srcOrd="0" destOrd="0" presId="urn:diagrams.loki3.com/BracketList"/>
    <dgm:cxn modelId="{2643C99A-658F-4487-A2CF-FCB88D1C7F13}" srcId="{0A1E147D-E204-4E6E-A023-713B0DC1C120}" destId="{18D051A4-E332-4A3C-A805-4064C9B6E0A5}" srcOrd="2" destOrd="0" parTransId="{A271E91C-B6D0-43A7-8337-345CA9850246}" sibTransId="{01A26F07-1860-42FE-B60C-9CB6EB707444}"/>
    <dgm:cxn modelId="{A892C7B9-3FBB-4D0C-AEDA-9882A1D36870}" type="presOf" srcId="{8A877C9E-B130-4CB0-A2B6-CA33D86D5C5A}" destId="{1C511419-C5F7-4E55-BC4E-EC06D892EA02}" srcOrd="0" destOrd="0" presId="urn:diagrams.loki3.com/BracketList"/>
    <dgm:cxn modelId="{6C5D1ABB-A656-4B21-B0FD-F97076EC3272}" type="presOf" srcId="{E0AB399A-081B-48DD-9A9D-0EE6F1F25C48}" destId="{1C511419-C5F7-4E55-BC4E-EC06D892EA02}" srcOrd="0" destOrd="1" presId="urn:diagrams.loki3.com/BracketList"/>
    <dgm:cxn modelId="{B21974C9-DC31-4440-ABE8-9BEA14D651E9}" srcId="{0A1E147D-E204-4E6E-A023-713B0DC1C120}" destId="{E9A6ECFC-3767-4D25-9702-D414D5A09791}" srcOrd="0" destOrd="0" parTransId="{953419ED-22A1-425B-B7A7-3D34378C0379}" sibTransId="{54413B34-AD6F-47EE-AC8C-1564016D6592}"/>
    <dgm:cxn modelId="{3B15B8CC-4786-4641-B617-D3F6E27C72C1}" srcId="{0A1E147D-E204-4E6E-A023-713B0DC1C120}" destId="{6C4555E3-81B4-44F1-B190-FFE69502F169}" srcOrd="1" destOrd="0" parTransId="{110706B1-6532-44DD-B4D5-0B9129A3484E}" sibTransId="{ECC6F3B4-DF11-49DC-85DC-531FD6801394}"/>
    <dgm:cxn modelId="{4F21F7D5-3C8B-4383-B85B-2C4E96F93B4E}" type="presOf" srcId="{6C4555E3-81B4-44F1-B190-FFE69502F169}" destId="{D09E0A73-AE84-4830-910B-537B2E310296}" srcOrd="0" destOrd="1" presId="urn:diagrams.loki3.com/BracketList"/>
    <dgm:cxn modelId="{68B7C4DC-5686-4FD6-8125-838B5C40E1AA}" srcId="{536E8374-BBB8-40BB-ACBD-22E490121568}" destId="{6ED4B20B-173D-42E1-B17A-9662C5B9E8B7}" srcOrd="5" destOrd="0" parTransId="{1CE60E32-D3D7-4606-BF36-909C43A25D9E}" sibTransId="{15E7B703-4D8C-4663-83B2-A7643422B21E}"/>
    <dgm:cxn modelId="{031F14E0-C3E2-4FEE-86B2-27571CE068FE}" type="presOf" srcId="{353A1A99-78FF-4ADF-ACAF-A7B006D2AED2}" destId="{6E75B8A3-1B62-4D87-BD49-CA075CCD4DB3}" srcOrd="0" destOrd="0" presId="urn:diagrams.loki3.com/BracketList"/>
    <dgm:cxn modelId="{C2C96FC1-55DC-42FA-B53F-85D1B0F197F5}" type="presParOf" srcId="{1F408972-C7CC-4FEC-BB81-42773F4BDA9E}" destId="{4336211A-03CD-4A00-A172-33BEBFC9EDA9}" srcOrd="0" destOrd="0" presId="urn:diagrams.loki3.com/BracketList"/>
    <dgm:cxn modelId="{DA96FB8D-4018-4C54-B2A5-8563AAD4FC2A}" type="presParOf" srcId="{4336211A-03CD-4A00-A172-33BEBFC9EDA9}" destId="{0F48ED21-CB6B-476A-B8AA-288A88FE13E9}" srcOrd="0" destOrd="0" presId="urn:diagrams.loki3.com/BracketList"/>
    <dgm:cxn modelId="{F9214F4D-F4EB-4077-A3F6-B5AD2EF2EA10}" type="presParOf" srcId="{4336211A-03CD-4A00-A172-33BEBFC9EDA9}" destId="{916F0FA3-6884-4BC2-972C-A7ABE6546B2A}" srcOrd="1" destOrd="0" presId="urn:diagrams.loki3.com/BracketList"/>
    <dgm:cxn modelId="{7F1DA025-E4B9-410D-BE46-EAF9CCF97659}" type="presParOf" srcId="{4336211A-03CD-4A00-A172-33BEBFC9EDA9}" destId="{F5FA1D44-0CEB-4BB5-A6DE-9C09E1C6CEF7}" srcOrd="2" destOrd="0" presId="urn:diagrams.loki3.com/BracketList"/>
    <dgm:cxn modelId="{06DE4B0D-EC65-40C2-8F68-8241F7B1B564}" type="presParOf" srcId="{4336211A-03CD-4A00-A172-33BEBFC9EDA9}" destId="{1C511419-C5F7-4E55-BC4E-EC06D892EA02}" srcOrd="3" destOrd="0" presId="urn:diagrams.loki3.com/BracketList"/>
    <dgm:cxn modelId="{6265B00C-222C-488F-A7AA-FD585B813DC9}" type="presParOf" srcId="{1F408972-C7CC-4FEC-BB81-42773F4BDA9E}" destId="{B0A58084-78EF-4BDA-B977-1F5FAD102B82}" srcOrd="1" destOrd="0" presId="urn:diagrams.loki3.com/BracketList"/>
    <dgm:cxn modelId="{3260F824-88C8-4D3E-9F36-9437F66363B1}" type="presParOf" srcId="{1F408972-C7CC-4FEC-BB81-42773F4BDA9E}" destId="{ED293D84-FB9C-42C1-B037-097B9F50A6DD}" srcOrd="2" destOrd="0" presId="urn:diagrams.loki3.com/BracketList"/>
    <dgm:cxn modelId="{720011DC-0D55-4D0F-B9F1-99A3B6D117D1}" type="presParOf" srcId="{ED293D84-FB9C-42C1-B037-097B9F50A6DD}" destId="{C7CDD9B6-1508-4891-9A0F-3071FFFB55A0}" srcOrd="0" destOrd="0" presId="urn:diagrams.loki3.com/BracketList"/>
    <dgm:cxn modelId="{0A590F25-4022-48DD-84AE-4E0CAA6BE557}" type="presParOf" srcId="{ED293D84-FB9C-42C1-B037-097B9F50A6DD}" destId="{7EDF9BE2-AA58-4A7F-852E-083E7805082E}" srcOrd="1" destOrd="0" presId="urn:diagrams.loki3.com/BracketList"/>
    <dgm:cxn modelId="{74500D07-78C8-4540-A75E-787486C7A083}" type="presParOf" srcId="{ED293D84-FB9C-42C1-B037-097B9F50A6DD}" destId="{14AB8374-76F6-4394-8CD9-26AB0C20052E}" srcOrd="2" destOrd="0" presId="urn:diagrams.loki3.com/BracketList"/>
    <dgm:cxn modelId="{E9C91F37-D75A-440F-9EEB-A0F73F730D47}" type="presParOf" srcId="{ED293D84-FB9C-42C1-B037-097B9F50A6DD}" destId="{D09E0A73-AE84-4830-910B-537B2E310296}" srcOrd="3" destOrd="0" presId="urn:diagrams.loki3.com/BracketList"/>
    <dgm:cxn modelId="{029B2FDC-962D-4DC2-A39B-6977EA475162}" type="presParOf" srcId="{1F408972-C7CC-4FEC-BB81-42773F4BDA9E}" destId="{E1B5D430-8163-412E-BF44-F0D002B3924D}" srcOrd="3" destOrd="0" presId="urn:diagrams.loki3.com/BracketList"/>
    <dgm:cxn modelId="{05FE05B1-70F0-449F-B087-FF0AB4FA7FE7}" type="presParOf" srcId="{1F408972-C7CC-4FEC-BB81-42773F4BDA9E}" destId="{58F09FD3-18A1-4746-AD76-0517D64829DC}" srcOrd="4" destOrd="0" presId="urn:diagrams.loki3.com/BracketList"/>
    <dgm:cxn modelId="{18D0D3F4-DD9D-4A54-B877-EA455D7D9A22}" type="presParOf" srcId="{58F09FD3-18A1-4746-AD76-0517D64829DC}" destId="{3624D1A5-637F-44C9-B0C4-5BF0423A964B}" srcOrd="0" destOrd="0" presId="urn:diagrams.loki3.com/BracketList"/>
    <dgm:cxn modelId="{40C3C09E-2686-4866-8C9B-3EEC06A6A9B8}" type="presParOf" srcId="{58F09FD3-18A1-4746-AD76-0517D64829DC}" destId="{87FBE7A5-D0D7-434B-87E7-D33181E66223}" srcOrd="1" destOrd="0" presId="urn:diagrams.loki3.com/BracketList"/>
    <dgm:cxn modelId="{FF5A48E6-3143-43E4-8C87-07F87D750D33}" type="presParOf" srcId="{58F09FD3-18A1-4746-AD76-0517D64829DC}" destId="{DF016C67-AA8E-4319-BFCF-80F6CF05DC20}" srcOrd="2" destOrd="0" presId="urn:diagrams.loki3.com/BracketList"/>
    <dgm:cxn modelId="{5590D87E-486E-47DA-8BA7-B079585E6FA9}" type="presParOf" srcId="{58F09FD3-18A1-4746-AD76-0517D64829DC}" destId="{6E75B8A3-1B62-4D87-BD49-CA075CCD4DB3}" srcOrd="3" destOrd="0" presId="urn:diagrams.loki3.com/Bracke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E1DF0C-A459-49AA-8F8D-34E69D8DBE3E}"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536E8374-BBB8-40BB-ACBD-22E490121568}">
      <dgm:prSet custT="1"/>
      <dgm:spPr/>
      <dgm:t>
        <a:bodyPr/>
        <a:lstStyle/>
        <a:p>
          <a:r>
            <a:rPr lang="en-US" sz="2000" dirty="0"/>
            <a:t>Module 10: Optional Lessons</a:t>
          </a:r>
          <a:endParaRPr lang="en-US" sz="2000" baseline="0" dirty="0"/>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07A69D5C-B548-4C9F-8B56-BF08D13055AC}">
      <dgm:prSet custT="1"/>
      <dgm:spPr/>
      <dgm:t>
        <a:bodyPr/>
        <a:lstStyle/>
        <a:p>
          <a:r>
            <a:rPr lang="en-US" sz="2000" dirty="0"/>
            <a:t>Extra: Test Storage Subsystem with Diskspd</a:t>
          </a:r>
        </a:p>
      </dgm:t>
    </dgm:pt>
    <dgm:pt modelId="{99C84833-E747-49D7-935A-C66A903F0108}" type="parTrans" cxnId="{86EA3E8E-C834-4C6B-8F81-C621421CA9BE}">
      <dgm:prSet/>
      <dgm:spPr/>
      <dgm:t>
        <a:bodyPr/>
        <a:lstStyle/>
        <a:p>
          <a:endParaRPr lang="en-US"/>
        </a:p>
      </dgm:t>
    </dgm:pt>
    <dgm:pt modelId="{06F0D749-DA9B-4903-A06A-8F137516A553}" type="sibTrans" cxnId="{86EA3E8E-C834-4C6B-8F81-C621421CA9BE}">
      <dgm:prSet/>
      <dgm:spPr/>
      <dgm:t>
        <a:bodyPr/>
        <a:lstStyle/>
        <a:p>
          <a:endParaRPr lang="en-US"/>
        </a:p>
      </dgm:t>
    </dgm:pt>
    <dgm:pt modelId="{7BCF08F1-73F0-449F-A8A7-DF03384B4D3F}">
      <dgm:prSet custT="1"/>
      <dgm:spPr/>
      <dgm:t>
        <a:bodyPr/>
        <a:lstStyle/>
        <a:p>
          <a:r>
            <a:rPr lang="fr-FR" sz="2000" dirty="0"/>
            <a:t>Extra: Troubleshooting TempDB Performance</a:t>
          </a:r>
        </a:p>
      </dgm:t>
    </dgm:pt>
    <dgm:pt modelId="{0E963D0D-FCEE-47D8-93C8-6F605BDF2D34}" type="parTrans" cxnId="{F76F7FBF-F36C-4392-8D32-370C90D96367}">
      <dgm:prSet/>
      <dgm:spPr/>
      <dgm:t>
        <a:bodyPr/>
        <a:lstStyle/>
        <a:p>
          <a:endParaRPr lang="en-US"/>
        </a:p>
      </dgm:t>
    </dgm:pt>
    <dgm:pt modelId="{51E1A436-7178-428B-B447-2F4A53DF56B1}" type="sibTrans" cxnId="{F76F7FBF-F36C-4392-8D32-370C90D96367}">
      <dgm:prSet/>
      <dgm:spPr/>
      <dgm:t>
        <a:bodyPr/>
        <a:lstStyle/>
        <a:p>
          <a:endParaRPr lang="en-US"/>
        </a:p>
      </dgm:t>
    </dgm:pt>
    <dgm:pt modelId="{9A16BD89-4B33-4522-82B2-708F5DA7C7FB}">
      <dgm:prSet custT="1"/>
      <dgm:spPr/>
      <dgm:t>
        <a:bodyPr/>
        <a:lstStyle/>
        <a:p>
          <a:r>
            <a:rPr lang="en-US" sz="2000"/>
            <a:t>Extra: Partitioned Tables and Indexes</a:t>
          </a:r>
          <a:endParaRPr lang="en-US" sz="2000" dirty="0"/>
        </a:p>
      </dgm:t>
    </dgm:pt>
    <dgm:pt modelId="{54473B2D-A121-40B3-AA53-DD76E09C6F96}" type="parTrans" cxnId="{10586F71-9D80-4509-9A80-EAC457304871}">
      <dgm:prSet/>
      <dgm:spPr/>
      <dgm:t>
        <a:bodyPr/>
        <a:lstStyle/>
        <a:p>
          <a:endParaRPr lang="en-US"/>
        </a:p>
      </dgm:t>
    </dgm:pt>
    <dgm:pt modelId="{146ACBDA-020D-4843-BAD0-1ACD20F6A5A1}" type="sibTrans" cxnId="{10586F71-9D80-4509-9A80-EAC457304871}">
      <dgm:prSet/>
      <dgm:spPr/>
      <dgm:t>
        <a:bodyPr/>
        <a:lstStyle/>
        <a:p>
          <a:endParaRPr lang="en-US"/>
        </a:p>
      </dgm:t>
    </dgm:pt>
    <dgm:pt modelId="{674FE1F7-B205-46BF-B8E2-C390A5C5485E}">
      <dgm:prSet custT="1"/>
      <dgm:spPr/>
      <dgm:t>
        <a:bodyPr/>
        <a:lstStyle/>
        <a:p>
          <a:r>
            <a:rPr lang="fr-FR" sz="2000" dirty="0"/>
            <a:t>Extra: Columnstore Indexes</a:t>
          </a:r>
        </a:p>
      </dgm:t>
    </dgm:pt>
    <dgm:pt modelId="{07B62699-C693-4784-98BC-2551DB7D0EDE}" type="parTrans" cxnId="{452832A6-F982-42C7-ABD5-FFB4C1A2C0FC}">
      <dgm:prSet/>
      <dgm:spPr/>
      <dgm:t>
        <a:bodyPr/>
        <a:lstStyle/>
        <a:p>
          <a:endParaRPr lang="en-US"/>
        </a:p>
      </dgm:t>
    </dgm:pt>
    <dgm:pt modelId="{6B2E0246-E57D-4675-8657-359806AAFAEF}" type="sibTrans" cxnId="{452832A6-F982-42C7-ABD5-FFB4C1A2C0FC}">
      <dgm:prSet/>
      <dgm:spPr/>
      <dgm:t>
        <a:bodyPr/>
        <a:lstStyle/>
        <a:p>
          <a:endParaRPr lang="en-US"/>
        </a:p>
      </dgm:t>
    </dgm:pt>
    <dgm:pt modelId="{41B735BE-35DF-41A3-B63A-1E7AEAD5E79D}">
      <dgm:prSet custT="1"/>
      <dgm:spPr/>
      <dgm:t>
        <a:bodyPr/>
        <a:lstStyle/>
        <a:p>
          <a:r>
            <a:rPr lang="fr-FR" sz="2000" dirty="0"/>
            <a:t>Extra: In-Memory OLTP</a:t>
          </a:r>
        </a:p>
      </dgm:t>
    </dgm:pt>
    <dgm:pt modelId="{DB5F5E7C-46FF-4B9B-8197-7585C1CF74EC}" type="parTrans" cxnId="{E0A42E02-A68E-4DC3-BA70-BC8BD3AD92D2}">
      <dgm:prSet/>
      <dgm:spPr/>
      <dgm:t>
        <a:bodyPr/>
        <a:lstStyle/>
        <a:p>
          <a:endParaRPr lang="en-US"/>
        </a:p>
      </dgm:t>
    </dgm:pt>
    <dgm:pt modelId="{B9AFB385-B54D-4F4E-888A-EA1133368539}" type="sibTrans" cxnId="{E0A42E02-A68E-4DC3-BA70-BC8BD3AD92D2}">
      <dgm:prSet/>
      <dgm:spPr/>
      <dgm:t>
        <a:bodyPr/>
        <a:lstStyle/>
        <a:p>
          <a:endParaRPr lang="en-US"/>
        </a:p>
      </dgm:t>
    </dgm:pt>
    <dgm:pt modelId="{05B9CBA3-8739-4041-9E5A-6A2C3DB2BAAB}">
      <dgm:prSet custT="1"/>
      <dgm:spPr/>
      <dgm:t>
        <a:bodyPr/>
        <a:lstStyle/>
        <a:p>
          <a:r>
            <a:rPr lang="en-US" sz="2000"/>
            <a:t>Extra: SQL Server Intelligent Query Processing</a:t>
          </a:r>
          <a:endParaRPr lang="en-US" sz="2000" dirty="0"/>
        </a:p>
      </dgm:t>
    </dgm:pt>
    <dgm:pt modelId="{D4805770-FB82-40A0-8738-4594BEDF7ACD}" type="parTrans" cxnId="{8B3041FE-984A-4884-BEE8-F9BE01E1FA53}">
      <dgm:prSet/>
      <dgm:spPr/>
      <dgm:t>
        <a:bodyPr/>
        <a:lstStyle/>
        <a:p>
          <a:endParaRPr lang="en-US"/>
        </a:p>
      </dgm:t>
    </dgm:pt>
    <dgm:pt modelId="{6E8B79C7-426A-4D53-9521-A5E82C566129}" type="sibTrans" cxnId="{8B3041FE-984A-4884-BEE8-F9BE01E1FA53}">
      <dgm:prSet/>
      <dgm:spPr/>
      <dgm:t>
        <a:bodyPr/>
        <a:lstStyle/>
        <a:p>
          <a:endParaRPr lang="en-US"/>
        </a:p>
      </dgm:t>
    </dgm:pt>
    <dgm:pt modelId="{B63570B1-B5ED-46A3-B67B-2F4F12705935}">
      <dgm:prSet custT="1"/>
      <dgm:spPr/>
      <dgm:t>
        <a:bodyPr/>
        <a:lstStyle/>
        <a:p>
          <a:r>
            <a:rPr lang="en-US" sz="2000" dirty="0"/>
            <a:t>Extra: SQL Server Resource Governor </a:t>
          </a:r>
          <a:endParaRPr lang="fr-FR" sz="2000" dirty="0"/>
        </a:p>
      </dgm:t>
    </dgm:pt>
    <dgm:pt modelId="{72CF176A-012E-4EC9-AB4F-DD8BD4E32A4C}" type="parTrans" cxnId="{95BADCC7-8C90-4853-897A-BFA0EE965A18}">
      <dgm:prSet/>
      <dgm:spPr/>
      <dgm:t>
        <a:bodyPr/>
        <a:lstStyle/>
        <a:p>
          <a:endParaRPr lang="en-US"/>
        </a:p>
      </dgm:t>
    </dgm:pt>
    <dgm:pt modelId="{DF4F77D2-6987-4300-A8C8-DEA7E9550BE8}" type="sibTrans" cxnId="{95BADCC7-8C90-4853-897A-BFA0EE965A18}">
      <dgm:prSet/>
      <dgm:spPr/>
      <dgm:t>
        <a:bodyPr/>
        <a:lstStyle/>
        <a:p>
          <a:endParaRPr lang="en-US"/>
        </a:p>
      </dgm:t>
    </dgm:pt>
    <dgm:pt modelId="{1F408972-C7CC-4FEC-BB81-42773F4BDA9E}" type="pres">
      <dgm:prSet presAssocID="{01E1DF0C-A459-49AA-8F8D-34E69D8DBE3E}" presName="Name0" presStyleCnt="0">
        <dgm:presLayoutVars>
          <dgm:dir/>
          <dgm:animLvl val="lvl"/>
          <dgm:resizeHandles val="exact"/>
        </dgm:presLayoutVars>
      </dgm:prSet>
      <dgm:spPr/>
    </dgm:pt>
    <dgm:pt modelId="{4336211A-03CD-4A00-A172-33BEBFC9EDA9}" type="pres">
      <dgm:prSet presAssocID="{536E8374-BBB8-40BB-ACBD-22E490121568}" presName="linNode" presStyleCnt="0"/>
      <dgm:spPr/>
    </dgm:pt>
    <dgm:pt modelId="{0F48ED21-CB6B-476A-B8AA-288A88FE13E9}" type="pres">
      <dgm:prSet presAssocID="{536E8374-BBB8-40BB-ACBD-22E490121568}" presName="parTx" presStyleLbl="revTx" presStyleIdx="0" presStyleCnt="1">
        <dgm:presLayoutVars>
          <dgm:chMax val="1"/>
          <dgm:bulletEnabled val="1"/>
        </dgm:presLayoutVars>
      </dgm:prSet>
      <dgm:spPr/>
    </dgm:pt>
    <dgm:pt modelId="{916F0FA3-6884-4BC2-972C-A7ABE6546B2A}" type="pres">
      <dgm:prSet presAssocID="{536E8374-BBB8-40BB-ACBD-22E490121568}" presName="bracket" presStyleLbl="parChTrans1D1" presStyleIdx="0" presStyleCnt="1"/>
      <dgm:spPr/>
    </dgm:pt>
    <dgm:pt modelId="{F5FA1D44-0CEB-4BB5-A6DE-9C09E1C6CEF7}" type="pres">
      <dgm:prSet presAssocID="{536E8374-BBB8-40BB-ACBD-22E490121568}" presName="spH" presStyleCnt="0"/>
      <dgm:spPr/>
    </dgm:pt>
    <dgm:pt modelId="{0ED8F8FB-BF54-4DA0-A6DD-7214BE4328BE}" type="pres">
      <dgm:prSet presAssocID="{536E8374-BBB8-40BB-ACBD-22E490121568}" presName="desTx" presStyleLbl="node1" presStyleIdx="0" presStyleCnt="1">
        <dgm:presLayoutVars>
          <dgm:bulletEnabled val="1"/>
        </dgm:presLayoutVars>
      </dgm:prSet>
      <dgm:spPr/>
    </dgm:pt>
  </dgm:ptLst>
  <dgm:cxnLst>
    <dgm:cxn modelId="{58207300-1ADD-40A0-96F5-F59F0C27B3E2}" srcId="{01E1DF0C-A459-49AA-8F8D-34E69D8DBE3E}" destId="{536E8374-BBB8-40BB-ACBD-22E490121568}" srcOrd="0" destOrd="0" parTransId="{46BC945B-9D04-47F7-8FCB-0B9C69EF93ED}" sibTransId="{498D443E-B527-4599-8CF9-E9DC179B3CE3}"/>
    <dgm:cxn modelId="{E0A42E02-A68E-4DC3-BA70-BC8BD3AD92D2}" srcId="{536E8374-BBB8-40BB-ACBD-22E490121568}" destId="{41B735BE-35DF-41A3-B63A-1E7AEAD5E79D}" srcOrd="4" destOrd="0" parTransId="{DB5F5E7C-46FF-4B9B-8197-7585C1CF74EC}" sibTransId="{B9AFB385-B54D-4F4E-888A-EA1133368539}"/>
    <dgm:cxn modelId="{7380DB29-BAC1-4106-9F45-31FBC0EF2ABD}" type="presOf" srcId="{7BCF08F1-73F0-449F-A8A7-DF03384B4D3F}" destId="{0ED8F8FB-BF54-4DA0-A6DD-7214BE4328BE}" srcOrd="0" destOrd="1" presId="urn:diagrams.loki3.com/BracketList"/>
    <dgm:cxn modelId="{8D965031-DFA3-4A78-93FB-787CDCD85150}" type="presOf" srcId="{05B9CBA3-8739-4041-9E5A-6A2C3DB2BAAB}" destId="{0ED8F8FB-BF54-4DA0-A6DD-7214BE4328BE}" srcOrd="0" destOrd="5" presId="urn:diagrams.loki3.com/BracketList"/>
    <dgm:cxn modelId="{D323483B-494E-42DF-AB72-F3D4A060F3CB}" type="presOf" srcId="{536E8374-BBB8-40BB-ACBD-22E490121568}" destId="{0F48ED21-CB6B-476A-B8AA-288A88FE13E9}" srcOrd="0" destOrd="0" presId="urn:diagrams.loki3.com/BracketList"/>
    <dgm:cxn modelId="{252B6E6C-05E7-44B3-984A-E97A2D443CF1}" type="presOf" srcId="{9A16BD89-4B33-4522-82B2-708F5DA7C7FB}" destId="{0ED8F8FB-BF54-4DA0-A6DD-7214BE4328BE}" srcOrd="0" destOrd="2" presId="urn:diagrams.loki3.com/BracketList"/>
    <dgm:cxn modelId="{914DFB6D-A1AB-406C-A882-BC2ECD827A54}" type="presOf" srcId="{01E1DF0C-A459-49AA-8F8D-34E69D8DBE3E}" destId="{1F408972-C7CC-4FEC-BB81-42773F4BDA9E}" srcOrd="0" destOrd="0" presId="urn:diagrams.loki3.com/BracketList"/>
    <dgm:cxn modelId="{2B246450-B3AD-483C-98DD-4A07581A2DA0}" type="presOf" srcId="{07A69D5C-B548-4C9F-8B56-BF08D13055AC}" destId="{0ED8F8FB-BF54-4DA0-A6DD-7214BE4328BE}" srcOrd="0" destOrd="0" presId="urn:diagrams.loki3.com/BracketList"/>
    <dgm:cxn modelId="{10586F71-9D80-4509-9A80-EAC457304871}" srcId="{536E8374-BBB8-40BB-ACBD-22E490121568}" destId="{9A16BD89-4B33-4522-82B2-708F5DA7C7FB}" srcOrd="2" destOrd="0" parTransId="{54473B2D-A121-40B3-AA53-DD76E09C6F96}" sibTransId="{146ACBDA-020D-4843-BAD0-1ACD20F6A5A1}"/>
    <dgm:cxn modelId="{06C6C285-738A-432E-A552-E675FDEB5730}" type="presOf" srcId="{674FE1F7-B205-46BF-B8E2-C390A5C5485E}" destId="{0ED8F8FB-BF54-4DA0-A6DD-7214BE4328BE}" srcOrd="0" destOrd="3" presId="urn:diagrams.loki3.com/BracketList"/>
    <dgm:cxn modelId="{86EA3E8E-C834-4C6B-8F81-C621421CA9BE}" srcId="{536E8374-BBB8-40BB-ACBD-22E490121568}" destId="{07A69D5C-B548-4C9F-8B56-BF08D13055AC}" srcOrd="0" destOrd="0" parTransId="{99C84833-E747-49D7-935A-C66A903F0108}" sibTransId="{06F0D749-DA9B-4903-A06A-8F137516A553}"/>
    <dgm:cxn modelId="{452832A6-F982-42C7-ABD5-FFB4C1A2C0FC}" srcId="{536E8374-BBB8-40BB-ACBD-22E490121568}" destId="{674FE1F7-B205-46BF-B8E2-C390A5C5485E}" srcOrd="3" destOrd="0" parTransId="{07B62699-C693-4784-98BC-2551DB7D0EDE}" sibTransId="{6B2E0246-E57D-4675-8657-359806AAFAEF}"/>
    <dgm:cxn modelId="{11313FBB-462A-4301-8BF6-FF689E0AA4C0}" type="presOf" srcId="{B63570B1-B5ED-46A3-B67B-2F4F12705935}" destId="{0ED8F8FB-BF54-4DA0-A6DD-7214BE4328BE}" srcOrd="0" destOrd="6" presId="urn:diagrams.loki3.com/BracketList"/>
    <dgm:cxn modelId="{F76F7FBF-F36C-4392-8D32-370C90D96367}" srcId="{536E8374-BBB8-40BB-ACBD-22E490121568}" destId="{7BCF08F1-73F0-449F-A8A7-DF03384B4D3F}" srcOrd="1" destOrd="0" parTransId="{0E963D0D-FCEE-47D8-93C8-6F605BDF2D34}" sibTransId="{51E1A436-7178-428B-B447-2F4A53DF56B1}"/>
    <dgm:cxn modelId="{A60DC1C2-2A96-41E1-9F4B-18D64DB32581}" type="presOf" srcId="{41B735BE-35DF-41A3-B63A-1E7AEAD5E79D}" destId="{0ED8F8FB-BF54-4DA0-A6DD-7214BE4328BE}" srcOrd="0" destOrd="4" presId="urn:diagrams.loki3.com/BracketList"/>
    <dgm:cxn modelId="{95BADCC7-8C90-4853-897A-BFA0EE965A18}" srcId="{536E8374-BBB8-40BB-ACBD-22E490121568}" destId="{B63570B1-B5ED-46A3-B67B-2F4F12705935}" srcOrd="6" destOrd="0" parTransId="{72CF176A-012E-4EC9-AB4F-DD8BD4E32A4C}" sibTransId="{DF4F77D2-6987-4300-A8C8-DEA7E9550BE8}"/>
    <dgm:cxn modelId="{8B3041FE-984A-4884-BEE8-F9BE01E1FA53}" srcId="{536E8374-BBB8-40BB-ACBD-22E490121568}" destId="{05B9CBA3-8739-4041-9E5A-6A2C3DB2BAAB}" srcOrd="5" destOrd="0" parTransId="{D4805770-FB82-40A0-8738-4594BEDF7ACD}" sibTransId="{6E8B79C7-426A-4D53-9521-A5E82C566129}"/>
    <dgm:cxn modelId="{C2C96FC1-55DC-42FA-B53F-85D1B0F197F5}" type="presParOf" srcId="{1F408972-C7CC-4FEC-BB81-42773F4BDA9E}" destId="{4336211A-03CD-4A00-A172-33BEBFC9EDA9}" srcOrd="0" destOrd="0" presId="urn:diagrams.loki3.com/BracketList"/>
    <dgm:cxn modelId="{DA96FB8D-4018-4C54-B2A5-8563AAD4FC2A}" type="presParOf" srcId="{4336211A-03CD-4A00-A172-33BEBFC9EDA9}" destId="{0F48ED21-CB6B-476A-B8AA-288A88FE13E9}" srcOrd="0" destOrd="0" presId="urn:diagrams.loki3.com/BracketList"/>
    <dgm:cxn modelId="{F9214F4D-F4EB-4077-A3F6-B5AD2EF2EA10}" type="presParOf" srcId="{4336211A-03CD-4A00-A172-33BEBFC9EDA9}" destId="{916F0FA3-6884-4BC2-972C-A7ABE6546B2A}" srcOrd="1" destOrd="0" presId="urn:diagrams.loki3.com/BracketList"/>
    <dgm:cxn modelId="{7F1DA025-E4B9-410D-BE46-EAF9CCF97659}" type="presParOf" srcId="{4336211A-03CD-4A00-A172-33BEBFC9EDA9}" destId="{F5FA1D44-0CEB-4BB5-A6DE-9C09E1C6CEF7}" srcOrd="2" destOrd="0" presId="urn:diagrams.loki3.com/BracketList"/>
    <dgm:cxn modelId="{C4EF3BC1-A72E-4EDA-AE86-CA9499E6BB0E}" type="presParOf" srcId="{4336211A-03CD-4A00-A172-33BEBFC9EDA9}" destId="{0ED8F8FB-BF54-4DA0-A6DD-7214BE4328BE}" srcOrd="3" destOrd="0" presId="urn:diagrams.loki3.com/Bracke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6D0E3-97A4-4666-8012-856C07D64EBD}">
      <dsp:nvSpPr>
        <dsp:cNvPr id="0" name=""/>
        <dsp:cNvSpPr/>
      </dsp:nvSpPr>
      <dsp:spPr>
        <a:xfrm>
          <a:off x="3254" y="902981"/>
          <a:ext cx="2581977" cy="1549186"/>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latin typeface="Segoe UI" panose="020B0502040204020203" pitchFamily="34" charset="0"/>
            </a:rPr>
            <a:t>Class hours</a:t>
          </a:r>
          <a:endParaRPr lang="en-US" sz="3200" kern="1200" dirty="0">
            <a:latin typeface="Segoe UI" panose="020B0502040204020203" pitchFamily="34" charset="0"/>
          </a:endParaRPr>
        </a:p>
      </dsp:txBody>
      <dsp:txXfrm>
        <a:off x="3254" y="902981"/>
        <a:ext cx="2581977" cy="1549186"/>
      </dsp:txXfrm>
    </dsp:sp>
    <dsp:sp modelId="{0B22390C-F27A-4A2D-AA8A-3D39D8D43BE5}">
      <dsp:nvSpPr>
        <dsp:cNvPr id="0" name=""/>
        <dsp:cNvSpPr/>
      </dsp:nvSpPr>
      <dsp:spPr>
        <a:xfrm>
          <a:off x="2843430" y="902981"/>
          <a:ext cx="2581977" cy="1549186"/>
        </a:xfrm>
        <a:prstGeom prst="rect">
          <a:avLst/>
        </a:prstGeom>
        <a:solidFill>
          <a:schemeClr val="accent1">
            <a:shade val="50000"/>
            <a:hueOff val="210398"/>
            <a:satOff val="-11345"/>
            <a:lumOff val="125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latin typeface="Segoe UI" panose="020B0502040204020203" pitchFamily="34" charset="0"/>
            </a:rPr>
            <a:t>Building hours</a:t>
          </a:r>
          <a:endParaRPr lang="en-US" sz="3200" kern="1200" dirty="0">
            <a:latin typeface="Segoe UI" panose="020B0502040204020203" pitchFamily="34" charset="0"/>
          </a:endParaRPr>
        </a:p>
      </dsp:txBody>
      <dsp:txXfrm>
        <a:off x="2843430" y="902981"/>
        <a:ext cx="2581977" cy="1549186"/>
      </dsp:txXfrm>
    </dsp:sp>
    <dsp:sp modelId="{9CC61B5C-69FA-4359-B2E7-DE1AAACCEFD6}">
      <dsp:nvSpPr>
        <dsp:cNvPr id="0" name=""/>
        <dsp:cNvSpPr/>
      </dsp:nvSpPr>
      <dsp:spPr>
        <a:xfrm>
          <a:off x="5683605" y="902981"/>
          <a:ext cx="2581977" cy="1549186"/>
        </a:xfrm>
        <a:prstGeom prst="rect">
          <a:avLst/>
        </a:prstGeom>
        <a:solidFill>
          <a:schemeClr val="accent1">
            <a:shade val="50000"/>
            <a:hueOff val="420795"/>
            <a:satOff val="-22690"/>
            <a:lumOff val="25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latin typeface="Segoe UI" panose="020B0502040204020203" pitchFamily="34" charset="0"/>
            </a:rPr>
            <a:t>Parking</a:t>
          </a:r>
          <a:endParaRPr lang="en-US" sz="3200" kern="1200">
            <a:latin typeface="Segoe UI" panose="020B0502040204020203" pitchFamily="34" charset="0"/>
          </a:endParaRPr>
        </a:p>
      </dsp:txBody>
      <dsp:txXfrm>
        <a:off x="5683605" y="902981"/>
        <a:ext cx="2581977" cy="1549186"/>
      </dsp:txXfrm>
    </dsp:sp>
    <dsp:sp modelId="{340413AF-538D-4A2A-A046-81A60FF9CAF0}">
      <dsp:nvSpPr>
        <dsp:cNvPr id="0" name=""/>
        <dsp:cNvSpPr/>
      </dsp:nvSpPr>
      <dsp:spPr>
        <a:xfrm>
          <a:off x="8523781" y="902981"/>
          <a:ext cx="2581977" cy="1549186"/>
        </a:xfrm>
        <a:prstGeom prst="rect">
          <a:avLst/>
        </a:prstGeom>
        <a:solidFill>
          <a:schemeClr val="accent1">
            <a:shade val="50000"/>
            <a:hueOff val="631193"/>
            <a:satOff val="-34036"/>
            <a:lumOff val="376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latin typeface="Segoe UI" panose="020B0502040204020203" pitchFamily="34" charset="0"/>
            </a:rPr>
            <a:t>Restrooms</a:t>
          </a:r>
          <a:endParaRPr lang="en-US" sz="3200" kern="1200" dirty="0">
            <a:latin typeface="Segoe UI" panose="020B0502040204020203" pitchFamily="34" charset="0"/>
          </a:endParaRPr>
        </a:p>
      </dsp:txBody>
      <dsp:txXfrm>
        <a:off x="8523781" y="902981"/>
        <a:ext cx="2581977" cy="1549186"/>
      </dsp:txXfrm>
    </dsp:sp>
    <dsp:sp modelId="{4724F28B-F242-4B3A-AC44-B6F4C420FE9D}">
      <dsp:nvSpPr>
        <dsp:cNvPr id="0" name=""/>
        <dsp:cNvSpPr/>
      </dsp:nvSpPr>
      <dsp:spPr>
        <a:xfrm>
          <a:off x="3254" y="2710366"/>
          <a:ext cx="2581977" cy="1549186"/>
        </a:xfrm>
        <a:prstGeom prst="rect">
          <a:avLst/>
        </a:prstGeom>
        <a:solidFill>
          <a:schemeClr val="accent1">
            <a:shade val="50000"/>
            <a:hueOff val="841590"/>
            <a:satOff val="-45381"/>
            <a:lumOff val="502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latin typeface="Segoe UI" panose="020B0502040204020203" pitchFamily="34" charset="0"/>
            </a:rPr>
            <a:t>Meals</a:t>
          </a:r>
          <a:endParaRPr lang="en-US" sz="3200" kern="1200" dirty="0">
            <a:latin typeface="Segoe UI" panose="020B0502040204020203" pitchFamily="34" charset="0"/>
          </a:endParaRPr>
        </a:p>
      </dsp:txBody>
      <dsp:txXfrm>
        <a:off x="3254" y="2710366"/>
        <a:ext cx="2581977" cy="1549186"/>
      </dsp:txXfrm>
    </dsp:sp>
    <dsp:sp modelId="{C5E87A78-E83E-47D4-AE61-735804853D7E}">
      <dsp:nvSpPr>
        <dsp:cNvPr id="0" name=""/>
        <dsp:cNvSpPr/>
      </dsp:nvSpPr>
      <dsp:spPr>
        <a:xfrm>
          <a:off x="2843430" y="2710366"/>
          <a:ext cx="2581977" cy="1549186"/>
        </a:xfrm>
        <a:prstGeom prst="rect">
          <a:avLst/>
        </a:prstGeom>
        <a:solidFill>
          <a:schemeClr val="accent1">
            <a:shade val="50000"/>
            <a:hueOff val="631193"/>
            <a:satOff val="-34036"/>
            <a:lumOff val="376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latin typeface="Segoe UI" panose="020B0502040204020203" pitchFamily="34" charset="0"/>
            </a:rPr>
            <a:t>Phones</a:t>
          </a:r>
          <a:endParaRPr lang="en-US" sz="3200" kern="1200" dirty="0">
            <a:latin typeface="Segoe UI" panose="020B0502040204020203" pitchFamily="34" charset="0"/>
          </a:endParaRPr>
        </a:p>
      </dsp:txBody>
      <dsp:txXfrm>
        <a:off x="2843430" y="2710366"/>
        <a:ext cx="2581977" cy="1549186"/>
      </dsp:txXfrm>
    </dsp:sp>
    <dsp:sp modelId="{8CEC9471-0AAB-4324-B17A-0336FEE682A9}">
      <dsp:nvSpPr>
        <dsp:cNvPr id="0" name=""/>
        <dsp:cNvSpPr/>
      </dsp:nvSpPr>
      <dsp:spPr>
        <a:xfrm>
          <a:off x="5683605" y="2710366"/>
          <a:ext cx="2581977" cy="1549186"/>
        </a:xfrm>
        <a:prstGeom prst="rect">
          <a:avLst/>
        </a:prstGeom>
        <a:solidFill>
          <a:schemeClr val="accent1">
            <a:shade val="50000"/>
            <a:hueOff val="420795"/>
            <a:satOff val="-22690"/>
            <a:lumOff val="25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latin typeface="Segoe UI" panose="020B0502040204020203" pitchFamily="34" charset="0"/>
            </a:rPr>
            <a:t>Smoking</a:t>
          </a:r>
          <a:endParaRPr lang="en-US" sz="3200" kern="1200" dirty="0">
            <a:latin typeface="Segoe UI" panose="020B0502040204020203" pitchFamily="34" charset="0"/>
          </a:endParaRPr>
        </a:p>
      </dsp:txBody>
      <dsp:txXfrm>
        <a:off x="5683605" y="2710366"/>
        <a:ext cx="2581977" cy="1549186"/>
      </dsp:txXfrm>
    </dsp:sp>
    <dsp:sp modelId="{3CDBF8EA-2F68-4335-B52A-1903B672F157}">
      <dsp:nvSpPr>
        <dsp:cNvPr id="0" name=""/>
        <dsp:cNvSpPr/>
      </dsp:nvSpPr>
      <dsp:spPr>
        <a:xfrm>
          <a:off x="8523781" y="2710366"/>
          <a:ext cx="2581977" cy="1549186"/>
        </a:xfrm>
        <a:prstGeom prst="rect">
          <a:avLst/>
        </a:prstGeom>
        <a:solidFill>
          <a:schemeClr val="accent1">
            <a:shade val="50000"/>
            <a:hueOff val="210398"/>
            <a:satOff val="-11345"/>
            <a:lumOff val="125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latin typeface="Segoe UI" panose="020B0502040204020203" pitchFamily="34" charset="0"/>
            </a:rPr>
            <a:t>Recycling</a:t>
          </a:r>
          <a:endParaRPr lang="en-US" sz="3200" kern="1200" dirty="0">
            <a:latin typeface="Segoe UI" panose="020B0502040204020203" pitchFamily="34" charset="0"/>
          </a:endParaRPr>
        </a:p>
      </dsp:txBody>
      <dsp:txXfrm>
        <a:off x="8523781" y="2710366"/>
        <a:ext cx="2581977" cy="15491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6573D3-A2E0-43F3-AD2A-8573D29F7E75}">
      <dsp:nvSpPr>
        <dsp:cNvPr id="0" name=""/>
        <dsp:cNvSpPr/>
      </dsp:nvSpPr>
      <dsp:spPr>
        <a:xfrm>
          <a:off x="0" y="1061882"/>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baseline="0" dirty="0"/>
            <a:t>Module 1: SQL Server Architecture, Scheduling and Waits</a:t>
          </a:r>
        </a:p>
      </dsp:txBody>
      <dsp:txXfrm>
        <a:off x="0" y="1061882"/>
        <a:ext cx="2840447" cy="1287000"/>
      </dsp:txXfrm>
    </dsp:sp>
    <dsp:sp modelId="{14F7419E-0418-491B-9093-5B5CFC78C305}">
      <dsp:nvSpPr>
        <dsp:cNvPr id="0" name=""/>
        <dsp:cNvSpPr/>
      </dsp:nvSpPr>
      <dsp:spPr>
        <a:xfrm>
          <a:off x="2840447" y="760241"/>
          <a:ext cx="568089" cy="1890281"/>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F5CD5D-5133-46BC-8090-D631500D457A}">
      <dsp:nvSpPr>
        <dsp:cNvPr id="0" name=""/>
        <dsp:cNvSpPr/>
      </dsp:nvSpPr>
      <dsp:spPr>
        <a:xfrm>
          <a:off x="3635773" y="760241"/>
          <a:ext cx="7726018" cy="189028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SQL Server Architecture Overview.</a:t>
          </a:r>
        </a:p>
        <a:p>
          <a:pPr marL="228600" lvl="1" indent="-228600" algn="l" defTabSz="889000">
            <a:lnSpc>
              <a:spcPct val="90000"/>
            </a:lnSpc>
            <a:spcBef>
              <a:spcPct val="0"/>
            </a:spcBef>
            <a:spcAft>
              <a:spcPct val="15000"/>
            </a:spcAft>
            <a:buChar char="•"/>
          </a:pPr>
          <a:r>
            <a:rPr lang="en-US" sz="2000" kern="1200" baseline="0" dirty="0"/>
            <a:t>SQL Server Operating System (SQLOS) Components.</a:t>
          </a:r>
        </a:p>
        <a:p>
          <a:pPr marL="228600" lvl="1" indent="-228600" algn="l" defTabSz="889000">
            <a:lnSpc>
              <a:spcPct val="90000"/>
            </a:lnSpc>
            <a:spcBef>
              <a:spcPct val="0"/>
            </a:spcBef>
            <a:spcAft>
              <a:spcPct val="15000"/>
            </a:spcAft>
            <a:buChar char="•"/>
          </a:pPr>
          <a:r>
            <a:rPr lang="en-US" sz="2000" kern="1200" baseline="0" dirty="0"/>
            <a:t>Task Scheduling</a:t>
          </a:r>
        </a:p>
        <a:p>
          <a:pPr marL="228600" lvl="1" indent="-228600" algn="l" defTabSz="889000">
            <a:lnSpc>
              <a:spcPct val="90000"/>
            </a:lnSpc>
            <a:spcBef>
              <a:spcPct val="0"/>
            </a:spcBef>
            <a:spcAft>
              <a:spcPct val="15000"/>
            </a:spcAft>
            <a:buChar char="•"/>
          </a:pPr>
          <a:r>
            <a:rPr lang="en-US" sz="2000" kern="1200" baseline="0" dirty="0"/>
            <a:t>Waits and Queues</a:t>
          </a:r>
        </a:p>
        <a:p>
          <a:pPr marL="228600" lvl="1" indent="-228600" algn="l" defTabSz="889000">
            <a:lnSpc>
              <a:spcPct val="90000"/>
            </a:lnSpc>
            <a:spcBef>
              <a:spcPct val="0"/>
            </a:spcBef>
            <a:spcAft>
              <a:spcPct val="15000"/>
            </a:spcAft>
            <a:buChar char="•"/>
          </a:pPr>
          <a:r>
            <a:rPr lang="en-US" sz="2000" kern="1200" baseline="0" dirty="0"/>
            <a:t>Understand Common Wait Types</a:t>
          </a:r>
        </a:p>
      </dsp:txBody>
      <dsp:txXfrm>
        <a:off x="3635773" y="760241"/>
        <a:ext cx="7726018" cy="1890281"/>
      </dsp:txXfrm>
    </dsp:sp>
    <dsp:sp modelId="{30C026B1-666F-4F72-8DE5-34DCCEF63896}">
      <dsp:nvSpPr>
        <dsp:cNvPr id="0" name=""/>
        <dsp:cNvSpPr/>
      </dsp:nvSpPr>
      <dsp:spPr>
        <a:xfrm>
          <a:off x="0" y="3186163"/>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baseline="0" dirty="0"/>
            <a:t>Module 2: </a:t>
          </a:r>
          <a:r>
            <a:rPr lang="en-US" sz="2000" kern="1200" dirty="0"/>
            <a:t>SQL Server Processor and Memory Management</a:t>
          </a:r>
          <a:endParaRPr lang="en-US" sz="2000" kern="1200" baseline="0" dirty="0"/>
        </a:p>
      </dsp:txBody>
      <dsp:txXfrm>
        <a:off x="0" y="3186163"/>
        <a:ext cx="2840447" cy="1287000"/>
      </dsp:txXfrm>
    </dsp:sp>
    <dsp:sp modelId="{356126C1-E1AB-4092-9EF5-C197B2B65B26}">
      <dsp:nvSpPr>
        <dsp:cNvPr id="0" name=""/>
        <dsp:cNvSpPr/>
      </dsp:nvSpPr>
      <dsp:spPr>
        <a:xfrm>
          <a:off x="2840447" y="2884523"/>
          <a:ext cx="568089" cy="1890281"/>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87C83DC-D58D-40C1-8C12-A766B3EBB10C}">
      <dsp:nvSpPr>
        <dsp:cNvPr id="0" name=""/>
        <dsp:cNvSpPr/>
      </dsp:nvSpPr>
      <dsp:spPr>
        <a:xfrm>
          <a:off x="3635773" y="2884523"/>
          <a:ext cx="7726018" cy="189028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rocessor Management</a:t>
          </a:r>
        </a:p>
        <a:p>
          <a:pPr marL="228600" lvl="1" indent="-228600" algn="l" defTabSz="889000">
            <a:lnSpc>
              <a:spcPct val="90000"/>
            </a:lnSpc>
            <a:spcBef>
              <a:spcPct val="0"/>
            </a:spcBef>
            <a:spcAft>
              <a:spcPct val="15000"/>
            </a:spcAft>
            <a:buChar char="•"/>
          </a:pPr>
          <a:r>
            <a:rPr lang="en-US" sz="2000" kern="1200" dirty="0"/>
            <a:t>Non-Uniform Memory Access (NUMA)</a:t>
          </a:r>
        </a:p>
        <a:p>
          <a:pPr marL="228600" lvl="1" indent="-228600" algn="l" defTabSz="889000">
            <a:lnSpc>
              <a:spcPct val="90000"/>
            </a:lnSpc>
            <a:spcBef>
              <a:spcPct val="0"/>
            </a:spcBef>
            <a:spcAft>
              <a:spcPct val="15000"/>
            </a:spcAft>
            <a:buChar char="•"/>
          </a:pPr>
          <a:r>
            <a:rPr lang="en-US" sz="2000" kern="1200" dirty="0"/>
            <a:t>SQL Server Memory Management</a:t>
          </a:r>
        </a:p>
        <a:p>
          <a:pPr marL="228600" lvl="1" indent="-228600" algn="l" defTabSz="889000">
            <a:lnSpc>
              <a:spcPct val="90000"/>
            </a:lnSpc>
            <a:spcBef>
              <a:spcPct val="0"/>
            </a:spcBef>
            <a:spcAft>
              <a:spcPct val="15000"/>
            </a:spcAft>
            <a:buChar char="•"/>
          </a:pPr>
          <a:r>
            <a:rPr lang="en-US" sz="2000" kern="1200" dirty="0"/>
            <a:t>Buffer Pool Management</a:t>
          </a:r>
        </a:p>
        <a:p>
          <a:pPr marL="228600" lvl="1" indent="-228600" algn="l" defTabSz="889000">
            <a:lnSpc>
              <a:spcPct val="90000"/>
            </a:lnSpc>
            <a:spcBef>
              <a:spcPct val="0"/>
            </a:spcBef>
            <a:spcAft>
              <a:spcPct val="15000"/>
            </a:spcAft>
            <a:buChar char="•"/>
          </a:pPr>
          <a:r>
            <a:rPr lang="en-US" sz="2000" kern="1200" dirty="0"/>
            <a:t>Troubleshooting SQL Server memory</a:t>
          </a:r>
        </a:p>
      </dsp:txBody>
      <dsp:txXfrm>
        <a:off x="3635773" y="2884523"/>
        <a:ext cx="7726018" cy="189028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A810B3-BA41-4BC9-AC8B-A6BA21F3BC43}">
      <dsp:nvSpPr>
        <dsp:cNvPr id="0" name=""/>
        <dsp:cNvSpPr/>
      </dsp:nvSpPr>
      <dsp:spPr>
        <a:xfrm>
          <a:off x="0" y="874652"/>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Module 3: SQL Server I/O and Database Structure</a:t>
          </a:r>
          <a:endParaRPr lang="en-US" sz="2000" kern="1200" baseline="0" dirty="0"/>
        </a:p>
      </dsp:txBody>
      <dsp:txXfrm>
        <a:off x="0" y="874652"/>
        <a:ext cx="2840447" cy="1287000"/>
      </dsp:txXfrm>
    </dsp:sp>
    <dsp:sp modelId="{A2D2083F-E7F6-457F-89A7-273FBC41E1F2}">
      <dsp:nvSpPr>
        <dsp:cNvPr id="0" name=""/>
        <dsp:cNvSpPr/>
      </dsp:nvSpPr>
      <dsp:spPr>
        <a:xfrm>
          <a:off x="2840447" y="190933"/>
          <a:ext cx="568089" cy="2654437"/>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944086-81FF-43E1-83DB-8A5BD13B7EDF}">
      <dsp:nvSpPr>
        <dsp:cNvPr id="0" name=""/>
        <dsp:cNvSpPr/>
      </dsp:nvSpPr>
      <dsp:spPr>
        <a:xfrm>
          <a:off x="3635773" y="190933"/>
          <a:ext cx="7726018" cy="2654437"/>
        </a:xfrm>
        <a:prstGeom prst="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SQL Server disk I/O operations.</a:t>
          </a:r>
        </a:p>
        <a:p>
          <a:pPr marL="228600" lvl="1" indent="-228600" algn="l" defTabSz="889000">
            <a:lnSpc>
              <a:spcPct val="90000"/>
            </a:lnSpc>
            <a:spcBef>
              <a:spcPct val="0"/>
            </a:spcBef>
            <a:spcAft>
              <a:spcPct val="15000"/>
            </a:spcAft>
            <a:buChar char="•"/>
          </a:pPr>
          <a:r>
            <a:rPr lang="en-US" sz="2000" kern="1200" baseline="0" dirty="0"/>
            <a:t>Buffer Pool page cache</a:t>
          </a:r>
        </a:p>
        <a:p>
          <a:pPr marL="228600" lvl="1" indent="-228600" algn="l" defTabSz="889000">
            <a:lnSpc>
              <a:spcPct val="90000"/>
            </a:lnSpc>
            <a:spcBef>
              <a:spcPct val="0"/>
            </a:spcBef>
            <a:spcAft>
              <a:spcPct val="15000"/>
            </a:spcAft>
            <a:buChar char="•"/>
          </a:pPr>
          <a:r>
            <a:rPr lang="en-US" sz="2000" kern="1200" dirty="0"/>
            <a:t>Pages and Extents</a:t>
          </a:r>
          <a:endParaRPr lang="en-US" sz="2000" kern="1200" baseline="0" dirty="0"/>
        </a:p>
        <a:p>
          <a:pPr marL="228600" lvl="1" indent="-228600" algn="l" defTabSz="889000">
            <a:lnSpc>
              <a:spcPct val="90000"/>
            </a:lnSpc>
            <a:spcBef>
              <a:spcPct val="0"/>
            </a:spcBef>
            <a:spcAft>
              <a:spcPct val="15000"/>
            </a:spcAft>
            <a:buChar char="•"/>
          </a:pPr>
          <a:r>
            <a:rPr lang="en-US" sz="2000" kern="1200" dirty="0"/>
            <a:t>Data File Structure</a:t>
          </a:r>
        </a:p>
        <a:p>
          <a:pPr marL="228600" lvl="1" indent="-228600" algn="l" defTabSz="889000">
            <a:lnSpc>
              <a:spcPct val="90000"/>
            </a:lnSpc>
            <a:spcBef>
              <a:spcPct val="0"/>
            </a:spcBef>
            <a:spcAft>
              <a:spcPct val="15000"/>
            </a:spcAft>
            <a:buChar char="•"/>
          </a:pPr>
          <a:r>
            <a:rPr lang="en-US" sz="2000" kern="1200" dirty="0"/>
            <a:t>TempDB File Structure</a:t>
          </a:r>
        </a:p>
        <a:p>
          <a:pPr marL="228600" lvl="1" indent="-228600" algn="l" defTabSz="889000">
            <a:lnSpc>
              <a:spcPct val="90000"/>
            </a:lnSpc>
            <a:spcBef>
              <a:spcPct val="0"/>
            </a:spcBef>
            <a:spcAft>
              <a:spcPct val="15000"/>
            </a:spcAft>
            <a:buChar char="•"/>
          </a:pPr>
          <a:r>
            <a:rPr lang="fr-FR" sz="2000" kern="1200" dirty="0"/>
            <a:t>Log File Structure</a:t>
          </a:r>
          <a:endParaRPr lang="en-US" sz="2000" kern="1200" dirty="0"/>
        </a:p>
        <a:p>
          <a:pPr marL="228600" lvl="1" indent="-228600" algn="l" defTabSz="889000">
            <a:lnSpc>
              <a:spcPct val="90000"/>
            </a:lnSpc>
            <a:spcBef>
              <a:spcPct val="0"/>
            </a:spcBef>
            <a:spcAft>
              <a:spcPct val="15000"/>
            </a:spcAft>
            <a:buChar char="•"/>
          </a:pPr>
          <a:r>
            <a:rPr lang="en-US" sz="2000" kern="1200" dirty="0"/>
            <a:t>SQL Server Logging Process</a:t>
          </a:r>
        </a:p>
      </dsp:txBody>
      <dsp:txXfrm>
        <a:off x="3635773" y="190933"/>
        <a:ext cx="7726018" cy="2654437"/>
      </dsp:txXfrm>
    </dsp:sp>
    <dsp:sp modelId="{C75EE833-5F73-4C5F-8169-0675A3D5940B}">
      <dsp:nvSpPr>
        <dsp:cNvPr id="0" name=""/>
        <dsp:cNvSpPr/>
      </dsp:nvSpPr>
      <dsp:spPr>
        <a:xfrm>
          <a:off x="0" y="3561996"/>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baseline="0" dirty="0"/>
            <a:t>Module 4: SQL Server Transactions and Concurrency</a:t>
          </a:r>
          <a:endParaRPr lang="en-US" sz="2000" kern="1200" dirty="0"/>
        </a:p>
      </dsp:txBody>
      <dsp:txXfrm>
        <a:off x="0" y="3561996"/>
        <a:ext cx="2840447" cy="1287000"/>
      </dsp:txXfrm>
    </dsp:sp>
    <dsp:sp modelId="{40192EDB-2023-46AA-863C-81BBB9CB0089}">
      <dsp:nvSpPr>
        <dsp:cNvPr id="0" name=""/>
        <dsp:cNvSpPr/>
      </dsp:nvSpPr>
      <dsp:spPr>
        <a:xfrm>
          <a:off x="2840447" y="3079371"/>
          <a:ext cx="568089" cy="2252250"/>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8FEB91-9903-45EB-9CF9-97F88C048845}">
      <dsp:nvSpPr>
        <dsp:cNvPr id="0" name=""/>
        <dsp:cNvSpPr/>
      </dsp:nvSpPr>
      <dsp:spPr>
        <a:xfrm>
          <a:off x="3635773" y="3079371"/>
          <a:ext cx="7726018" cy="2252250"/>
        </a:xfrm>
        <a:prstGeom prst="rect">
          <a:avLst/>
        </a:prstGeom>
        <a:solidFill>
          <a:schemeClr val="lt1">
            <a:hueOff val="0"/>
            <a:satOff val="0"/>
            <a:lumOff val="0"/>
            <a:alphaOff val="0"/>
          </a:schemeClr>
        </a:solidFill>
        <a:ln w="19050" cap="flat" cmpd="sng" algn="ctr">
          <a:solidFill>
            <a:schemeClr val="dk2">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SQL Server Transactions</a:t>
          </a:r>
        </a:p>
        <a:p>
          <a:pPr marL="228600" lvl="1" indent="-228600" algn="l" defTabSz="889000">
            <a:lnSpc>
              <a:spcPct val="90000"/>
            </a:lnSpc>
            <a:spcBef>
              <a:spcPct val="0"/>
            </a:spcBef>
            <a:spcAft>
              <a:spcPct val="15000"/>
            </a:spcAft>
            <a:buChar char="•"/>
          </a:pPr>
          <a:r>
            <a:rPr lang="en-US" sz="2000" kern="1200" baseline="0" dirty="0"/>
            <a:t>Transaction Isolation Levels</a:t>
          </a:r>
        </a:p>
        <a:p>
          <a:pPr marL="228600" lvl="1" indent="-228600" algn="l" defTabSz="889000">
            <a:lnSpc>
              <a:spcPct val="90000"/>
            </a:lnSpc>
            <a:spcBef>
              <a:spcPct val="0"/>
            </a:spcBef>
            <a:spcAft>
              <a:spcPct val="15000"/>
            </a:spcAft>
            <a:buChar char="•"/>
          </a:pPr>
          <a:r>
            <a:rPr lang="en-US" sz="2000" kern="1200" baseline="0" dirty="0"/>
            <a:t>Locking Compatibility</a:t>
          </a:r>
        </a:p>
        <a:p>
          <a:pPr marL="228600" lvl="1" indent="-228600" algn="l" defTabSz="889000">
            <a:lnSpc>
              <a:spcPct val="90000"/>
            </a:lnSpc>
            <a:spcBef>
              <a:spcPct val="0"/>
            </a:spcBef>
            <a:spcAft>
              <a:spcPct val="15000"/>
            </a:spcAft>
            <a:buChar char="•"/>
          </a:pPr>
          <a:r>
            <a:rPr lang="en-US" sz="2000" kern="1200" baseline="0"/>
            <a:t>Locking Granularity</a:t>
          </a:r>
          <a:endParaRPr lang="en-US" sz="2000" kern="1200" baseline="0" dirty="0"/>
        </a:p>
        <a:p>
          <a:pPr marL="228600" lvl="1" indent="-228600" algn="l" defTabSz="889000">
            <a:lnSpc>
              <a:spcPct val="90000"/>
            </a:lnSpc>
            <a:spcBef>
              <a:spcPct val="0"/>
            </a:spcBef>
            <a:spcAft>
              <a:spcPct val="15000"/>
            </a:spcAft>
            <a:buChar char="•"/>
          </a:pPr>
          <a:r>
            <a:rPr lang="en-US" sz="2000" kern="1200" baseline="0"/>
            <a:t>Locking Escalation</a:t>
          </a:r>
          <a:endParaRPr lang="en-US" sz="2000" kern="1200" baseline="0" dirty="0"/>
        </a:p>
        <a:p>
          <a:pPr marL="228600" lvl="1" indent="-228600" algn="l" defTabSz="889000">
            <a:lnSpc>
              <a:spcPct val="90000"/>
            </a:lnSpc>
            <a:spcBef>
              <a:spcPct val="0"/>
            </a:spcBef>
            <a:spcAft>
              <a:spcPct val="15000"/>
            </a:spcAft>
            <a:buChar char="•"/>
          </a:pPr>
          <a:r>
            <a:rPr lang="en-US" sz="2000" kern="1200" baseline="0" dirty="0"/>
            <a:t>Blocking and Deadlocking</a:t>
          </a:r>
        </a:p>
      </dsp:txBody>
      <dsp:txXfrm>
        <a:off x="3635773" y="3079371"/>
        <a:ext cx="7726018" cy="22522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B363A3-D41F-44A2-ABA1-695F9BE86D45}">
      <dsp:nvSpPr>
        <dsp:cNvPr id="0" name=""/>
        <dsp:cNvSpPr/>
      </dsp:nvSpPr>
      <dsp:spPr>
        <a:xfrm>
          <a:off x="0" y="1255623"/>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Module 5: SQL Server Index Structure</a:t>
          </a:r>
          <a:endParaRPr lang="en-US" sz="2000" kern="1200" baseline="0" dirty="0"/>
        </a:p>
      </dsp:txBody>
      <dsp:txXfrm>
        <a:off x="0" y="1255623"/>
        <a:ext cx="2840447" cy="1287000"/>
      </dsp:txXfrm>
    </dsp:sp>
    <dsp:sp modelId="{BD6209AB-44E8-4D76-AE62-DB0EE8C975FC}">
      <dsp:nvSpPr>
        <dsp:cNvPr id="0" name=""/>
        <dsp:cNvSpPr/>
      </dsp:nvSpPr>
      <dsp:spPr>
        <a:xfrm>
          <a:off x="2840447" y="571904"/>
          <a:ext cx="568089" cy="2654437"/>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1E655C-B92A-437C-8DC9-2B8EAEF226E7}">
      <dsp:nvSpPr>
        <dsp:cNvPr id="0" name=""/>
        <dsp:cNvSpPr/>
      </dsp:nvSpPr>
      <dsp:spPr>
        <a:xfrm>
          <a:off x="3635773" y="571904"/>
          <a:ext cx="7726018" cy="2654437"/>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ndexing and SARGability</a:t>
          </a:r>
        </a:p>
        <a:p>
          <a:pPr marL="228600" lvl="1" indent="-228600" algn="l" defTabSz="889000">
            <a:lnSpc>
              <a:spcPct val="90000"/>
            </a:lnSpc>
            <a:spcBef>
              <a:spcPct val="0"/>
            </a:spcBef>
            <a:spcAft>
              <a:spcPct val="15000"/>
            </a:spcAft>
            <a:buChar char="•"/>
          </a:pPr>
          <a:r>
            <a:rPr lang="en-US" sz="2000" kern="1200" dirty="0"/>
            <a:t>Heaps vs Clustered Indexes</a:t>
          </a:r>
        </a:p>
        <a:p>
          <a:pPr marL="228600" lvl="1" indent="-228600" algn="l" defTabSz="889000">
            <a:lnSpc>
              <a:spcPct val="90000"/>
            </a:lnSpc>
            <a:spcBef>
              <a:spcPct val="0"/>
            </a:spcBef>
            <a:spcAft>
              <a:spcPct val="15000"/>
            </a:spcAft>
            <a:buChar char="•"/>
          </a:pPr>
          <a:r>
            <a:rPr lang="en-US" sz="2000" kern="1200" dirty="0"/>
            <a:t>Non-Clustered Indexes</a:t>
          </a:r>
        </a:p>
        <a:p>
          <a:pPr marL="228600" lvl="1" indent="-228600" algn="l" defTabSz="889000">
            <a:lnSpc>
              <a:spcPct val="90000"/>
            </a:lnSpc>
            <a:spcBef>
              <a:spcPct val="0"/>
            </a:spcBef>
            <a:spcAft>
              <a:spcPct val="15000"/>
            </a:spcAft>
            <a:buChar char="•"/>
          </a:pPr>
          <a:r>
            <a:rPr lang="en-US" sz="2000" kern="1200" dirty="0"/>
            <a:t>Seeks vs Scans</a:t>
          </a:r>
        </a:p>
        <a:p>
          <a:pPr marL="228600" lvl="1" indent="-228600" algn="l" defTabSz="889000">
            <a:lnSpc>
              <a:spcPct val="90000"/>
            </a:lnSpc>
            <a:spcBef>
              <a:spcPct val="0"/>
            </a:spcBef>
            <a:spcAft>
              <a:spcPct val="15000"/>
            </a:spcAft>
            <a:buChar char="•"/>
          </a:pPr>
          <a:r>
            <a:rPr lang="en-US" sz="2000" kern="1200" dirty="0"/>
            <a:t>Indexing Strategies</a:t>
          </a:r>
        </a:p>
        <a:p>
          <a:pPr marL="228600" lvl="1" indent="-228600" algn="l" defTabSz="889000">
            <a:lnSpc>
              <a:spcPct val="90000"/>
            </a:lnSpc>
            <a:spcBef>
              <a:spcPct val="0"/>
            </a:spcBef>
            <a:spcAft>
              <a:spcPct val="15000"/>
            </a:spcAft>
            <a:buChar char="•"/>
          </a:pPr>
          <a:r>
            <a:rPr lang="en-US" sz="2000" kern="1200" dirty="0"/>
            <a:t>Index Monitoring</a:t>
          </a:r>
        </a:p>
        <a:p>
          <a:pPr marL="228600" lvl="1" indent="-228600" algn="l" defTabSz="889000">
            <a:lnSpc>
              <a:spcPct val="90000"/>
            </a:lnSpc>
            <a:spcBef>
              <a:spcPct val="0"/>
            </a:spcBef>
            <a:spcAft>
              <a:spcPct val="15000"/>
            </a:spcAft>
            <a:buChar char="•"/>
          </a:pPr>
          <a:r>
            <a:rPr lang="en-US" sz="2000" kern="1200" dirty="0"/>
            <a:t>Index Fragmentation</a:t>
          </a:r>
        </a:p>
      </dsp:txBody>
      <dsp:txXfrm>
        <a:off x="3635773" y="571904"/>
        <a:ext cx="7726018" cy="2654437"/>
      </dsp:txXfrm>
    </dsp:sp>
    <dsp:sp modelId="{71C37751-79FB-4065-B50A-1C9B4C91BBEF}">
      <dsp:nvSpPr>
        <dsp:cNvPr id="0" name=""/>
        <dsp:cNvSpPr/>
      </dsp:nvSpPr>
      <dsp:spPr>
        <a:xfrm>
          <a:off x="0" y="3460341"/>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Module 6: SQL Server Statistics Structure</a:t>
          </a:r>
        </a:p>
      </dsp:txBody>
      <dsp:txXfrm>
        <a:off x="0" y="3460341"/>
        <a:ext cx="2840447" cy="1287000"/>
      </dsp:txXfrm>
    </dsp:sp>
    <dsp:sp modelId="{207D6539-96BE-461E-B6DB-8DCF5E9ED570}">
      <dsp:nvSpPr>
        <dsp:cNvPr id="0" name=""/>
        <dsp:cNvSpPr/>
      </dsp:nvSpPr>
      <dsp:spPr>
        <a:xfrm>
          <a:off x="2840447" y="3460341"/>
          <a:ext cx="568089" cy="1287000"/>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880ACB-53CF-435F-88FE-D6EBA468A42F}">
      <dsp:nvSpPr>
        <dsp:cNvPr id="0" name=""/>
        <dsp:cNvSpPr/>
      </dsp:nvSpPr>
      <dsp:spPr>
        <a:xfrm>
          <a:off x="3635773" y="3460341"/>
          <a:ext cx="7726018" cy="128700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SQL Server Statistics Internals</a:t>
          </a:r>
        </a:p>
        <a:p>
          <a:pPr marL="228600" lvl="1" indent="-228600" algn="l" defTabSz="889000">
            <a:lnSpc>
              <a:spcPct val="90000"/>
            </a:lnSpc>
            <a:spcBef>
              <a:spcPct val="0"/>
            </a:spcBef>
            <a:spcAft>
              <a:spcPct val="15000"/>
            </a:spcAft>
            <a:buChar char="•"/>
          </a:pPr>
          <a:r>
            <a:rPr lang="en-US" sz="2000" kern="1200" dirty="0"/>
            <a:t>SQL Server Statistics Maintenance </a:t>
          </a:r>
        </a:p>
      </dsp:txBody>
      <dsp:txXfrm>
        <a:off x="3635773" y="3460341"/>
        <a:ext cx="7726018" cy="1287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8ED21-CB6B-476A-B8AA-288A88FE13E9}">
      <dsp:nvSpPr>
        <dsp:cNvPr id="0" name=""/>
        <dsp:cNvSpPr/>
      </dsp:nvSpPr>
      <dsp:spPr>
        <a:xfrm>
          <a:off x="0" y="556972"/>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dirty="0"/>
            <a:t>Module 7: SQL Server Query Execution and Plans</a:t>
          </a:r>
          <a:endParaRPr lang="en-US" sz="1800" kern="1200" baseline="0" dirty="0"/>
        </a:p>
      </dsp:txBody>
      <dsp:txXfrm>
        <a:off x="0" y="556972"/>
        <a:ext cx="2840447" cy="1287000"/>
      </dsp:txXfrm>
    </dsp:sp>
    <dsp:sp modelId="{916F0FA3-6884-4BC2-972C-A7ABE6546B2A}">
      <dsp:nvSpPr>
        <dsp:cNvPr id="0" name=""/>
        <dsp:cNvSpPr/>
      </dsp:nvSpPr>
      <dsp:spPr>
        <a:xfrm>
          <a:off x="2840447" y="195004"/>
          <a:ext cx="568089" cy="2010937"/>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511419-C5F7-4E55-BC4E-EC06D892EA02}">
      <dsp:nvSpPr>
        <dsp:cNvPr id="0" name=""/>
        <dsp:cNvSpPr/>
      </dsp:nvSpPr>
      <dsp:spPr>
        <a:xfrm>
          <a:off x="3635773" y="195004"/>
          <a:ext cx="7726018" cy="2010937"/>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Query Optimization and Compilation</a:t>
          </a:r>
        </a:p>
        <a:p>
          <a:pPr marL="171450" lvl="1" indent="-171450" algn="l" defTabSz="800100">
            <a:lnSpc>
              <a:spcPct val="90000"/>
            </a:lnSpc>
            <a:spcBef>
              <a:spcPct val="0"/>
            </a:spcBef>
            <a:spcAft>
              <a:spcPct val="15000"/>
            </a:spcAft>
            <a:buChar char="•"/>
          </a:pPr>
          <a:r>
            <a:rPr lang="en-US" sz="1800" kern="1200" dirty="0"/>
            <a:t>Query Execution Plans</a:t>
          </a:r>
        </a:p>
        <a:p>
          <a:pPr marL="171450" lvl="1" indent="-171450" algn="l" defTabSz="800100">
            <a:lnSpc>
              <a:spcPct val="90000"/>
            </a:lnSpc>
            <a:spcBef>
              <a:spcPct val="0"/>
            </a:spcBef>
            <a:spcAft>
              <a:spcPct val="15000"/>
            </a:spcAft>
            <a:buChar char="•"/>
          </a:pPr>
          <a:r>
            <a:rPr lang="en-US" sz="1800" kern="1200" dirty="0"/>
            <a:t>Reading Execution Plans</a:t>
          </a:r>
        </a:p>
        <a:p>
          <a:pPr marL="171450" lvl="1" indent="-171450" algn="l" defTabSz="800100">
            <a:lnSpc>
              <a:spcPct val="90000"/>
            </a:lnSpc>
            <a:spcBef>
              <a:spcPct val="0"/>
            </a:spcBef>
            <a:spcAft>
              <a:spcPct val="15000"/>
            </a:spcAft>
            <a:buChar char="•"/>
          </a:pPr>
          <a:r>
            <a:rPr lang="en-US" sz="1800" kern="1200" dirty="0"/>
            <a:t>Query Plan Operators</a:t>
          </a:r>
        </a:p>
        <a:p>
          <a:pPr marL="171450" lvl="1" indent="-171450" algn="l" defTabSz="800100">
            <a:lnSpc>
              <a:spcPct val="90000"/>
            </a:lnSpc>
            <a:spcBef>
              <a:spcPct val="0"/>
            </a:spcBef>
            <a:spcAft>
              <a:spcPct val="15000"/>
            </a:spcAft>
            <a:buChar char="•"/>
          </a:pPr>
          <a:r>
            <a:rPr lang="en-US" sz="1800" kern="1200" dirty="0"/>
            <a:t>Logical vs Physical Join Operators</a:t>
          </a:r>
        </a:p>
        <a:p>
          <a:pPr marL="171450" lvl="1" indent="-171450" algn="l" defTabSz="800100">
            <a:lnSpc>
              <a:spcPct val="90000"/>
            </a:lnSpc>
            <a:spcBef>
              <a:spcPct val="0"/>
            </a:spcBef>
            <a:spcAft>
              <a:spcPct val="15000"/>
            </a:spcAft>
            <a:buChar char="•"/>
          </a:pPr>
          <a:r>
            <a:rPr lang="en-US" sz="1800" kern="1200" dirty="0"/>
            <a:t>Troubleshooting Query Plans</a:t>
          </a:r>
        </a:p>
      </dsp:txBody>
      <dsp:txXfrm>
        <a:off x="3635773" y="195004"/>
        <a:ext cx="7726018" cy="2010937"/>
      </dsp:txXfrm>
    </dsp:sp>
    <dsp:sp modelId="{C7CDD9B6-1508-4891-9A0F-3071FFFB55A0}">
      <dsp:nvSpPr>
        <dsp:cNvPr id="0" name=""/>
        <dsp:cNvSpPr/>
      </dsp:nvSpPr>
      <dsp:spPr>
        <a:xfrm>
          <a:off x="0" y="2439941"/>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dirty="0"/>
            <a:t>Module 8: SQL Server Plan Caching and Query Store</a:t>
          </a:r>
        </a:p>
      </dsp:txBody>
      <dsp:txXfrm>
        <a:off x="0" y="2439941"/>
        <a:ext cx="2840447" cy="1287000"/>
      </dsp:txXfrm>
    </dsp:sp>
    <dsp:sp modelId="{7EDF9BE2-AA58-4A7F-852E-083E7805082E}">
      <dsp:nvSpPr>
        <dsp:cNvPr id="0" name=""/>
        <dsp:cNvSpPr/>
      </dsp:nvSpPr>
      <dsp:spPr>
        <a:xfrm>
          <a:off x="2840447" y="2439941"/>
          <a:ext cx="568089" cy="1287000"/>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9E0A73-AE84-4830-910B-537B2E310296}">
      <dsp:nvSpPr>
        <dsp:cNvPr id="0" name=""/>
        <dsp:cNvSpPr/>
      </dsp:nvSpPr>
      <dsp:spPr>
        <a:xfrm>
          <a:off x="3635773" y="2439941"/>
          <a:ext cx="7726018" cy="128700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SQL Server Plan Cache Internals</a:t>
          </a:r>
        </a:p>
        <a:p>
          <a:pPr marL="171450" lvl="1" indent="-171450" algn="l" defTabSz="800100">
            <a:lnSpc>
              <a:spcPct val="90000"/>
            </a:lnSpc>
            <a:spcBef>
              <a:spcPct val="0"/>
            </a:spcBef>
            <a:spcAft>
              <a:spcPct val="15000"/>
            </a:spcAft>
            <a:buChar char="•"/>
          </a:pPr>
          <a:r>
            <a:rPr lang="en-US" sz="1800" kern="1200" dirty="0"/>
            <a:t>Query Store Troubleshooting</a:t>
          </a:r>
        </a:p>
        <a:p>
          <a:pPr marL="171450" lvl="1" indent="-171450" algn="l" defTabSz="800100">
            <a:lnSpc>
              <a:spcPct val="90000"/>
            </a:lnSpc>
            <a:spcBef>
              <a:spcPct val="0"/>
            </a:spcBef>
            <a:spcAft>
              <a:spcPct val="15000"/>
            </a:spcAft>
            <a:buChar char="•"/>
          </a:pPr>
          <a:r>
            <a:rPr lang="en-US" sz="1800" kern="1200" dirty="0"/>
            <a:t>Overview of Intelligent Query Processing (IQP)</a:t>
          </a:r>
        </a:p>
      </dsp:txBody>
      <dsp:txXfrm>
        <a:off x="3635773" y="2439941"/>
        <a:ext cx="7726018" cy="1287000"/>
      </dsp:txXfrm>
    </dsp:sp>
    <dsp:sp modelId="{3624D1A5-637F-44C9-B0C4-5BF0423A964B}">
      <dsp:nvSpPr>
        <dsp:cNvPr id="0" name=""/>
        <dsp:cNvSpPr/>
      </dsp:nvSpPr>
      <dsp:spPr>
        <a:xfrm>
          <a:off x="0" y="3960941"/>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dirty="0"/>
            <a:t>Module 9: SQL Server Query Tuning</a:t>
          </a:r>
        </a:p>
      </dsp:txBody>
      <dsp:txXfrm>
        <a:off x="0" y="3960941"/>
        <a:ext cx="2840447" cy="1287000"/>
      </dsp:txXfrm>
    </dsp:sp>
    <dsp:sp modelId="{87FBE7A5-D0D7-434B-87E7-D33181E66223}">
      <dsp:nvSpPr>
        <dsp:cNvPr id="0" name=""/>
        <dsp:cNvSpPr/>
      </dsp:nvSpPr>
      <dsp:spPr>
        <a:xfrm>
          <a:off x="2840447" y="3960941"/>
          <a:ext cx="568089" cy="1287000"/>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E75B8A3-1B62-4D87-BD49-CA075CCD4DB3}">
      <dsp:nvSpPr>
        <dsp:cNvPr id="0" name=""/>
        <dsp:cNvSpPr/>
      </dsp:nvSpPr>
      <dsp:spPr>
        <a:xfrm>
          <a:off x="3635773" y="3960941"/>
          <a:ext cx="7726018" cy="1287000"/>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fr-FR" sz="1800" kern="1200" dirty="0"/>
            <a:t>Sargable expressions</a:t>
          </a:r>
          <a:endParaRPr lang="en-US" sz="1800" kern="1200" dirty="0"/>
        </a:p>
        <a:p>
          <a:pPr marL="171450" lvl="1" indent="-171450" algn="l" defTabSz="800100">
            <a:lnSpc>
              <a:spcPct val="90000"/>
            </a:lnSpc>
            <a:spcBef>
              <a:spcPct val="0"/>
            </a:spcBef>
            <a:spcAft>
              <a:spcPct val="15000"/>
            </a:spcAft>
            <a:buChar char="•"/>
          </a:pPr>
          <a:r>
            <a:rPr lang="en-US" sz="1800" kern="1200" noProof="0" dirty="0"/>
            <a:t>Extended Events </a:t>
          </a:r>
          <a:endParaRPr lang="en-US" sz="1800" kern="1200" dirty="0"/>
        </a:p>
      </dsp:txBody>
      <dsp:txXfrm>
        <a:off x="3635773" y="3960941"/>
        <a:ext cx="7726018" cy="12870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8ED21-CB6B-476A-B8AA-288A88FE13E9}">
      <dsp:nvSpPr>
        <dsp:cNvPr id="0" name=""/>
        <dsp:cNvSpPr/>
      </dsp:nvSpPr>
      <dsp:spPr>
        <a:xfrm>
          <a:off x="0" y="2077973"/>
          <a:ext cx="28404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Module 10: Optional Lessons</a:t>
          </a:r>
          <a:endParaRPr lang="en-US" sz="2000" kern="1200" baseline="0" dirty="0"/>
        </a:p>
      </dsp:txBody>
      <dsp:txXfrm>
        <a:off x="0" y="2077973"/>
        <a:ext cx="2840447" cy="1287000"/>
      </dsp:txXfrm>
    </dsp:sp>
    <dsp:sp modelId="{916F0FA3-6884-4BC2-972C-A7ABE6546B2A}">
      <dsp:nvSpPr>
        <dsp:cNvPr id="0" name=""/>
        <dsp:cNvSpPr/>
      </dsp:nvSpPr>
      <dsp:spPr>
        <a:xfrm>
          <a:off x="2840447" y="1394254"/>
          <a:ext cx="568089" cy="2654437"/>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D8F8FB-BF54-4DA0-A6DD-7214BE4328BE}">
      <dsp:nvSpPr>
        <dsp:cNvPr id="0" name=""/>
        <dsp:cNvSpPr/>
      </dsp:nvSpPr>
      <dsp:spPr>
        <a:xfrm>
          <a:off x="3635773" y="1394254"/>
          <a:ext cx="7726018" cy="2654437"/>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Extra: Test Storage Subsystem with Diskspd</a:t>
          </a:r>
        </a:p>
        <a:p>
          <a:pPr marL="228600" lvl="1" indent="-228600" algn="l" defTabSz="889000">
            <a:lnSpc>
              <a:spcPct val="90000"/>
            </a:lnSpc>
            <a:spcBef>
              <a:spcPct val="0"/>
            </a:spcBef>
            <a:spcAft>
              <a:spcPct val="15000"/>
            </a:spcAft>
            <a:buChar char="•"/>
          </a:pPr>
          <a:r>
            <a:rPr lang="fr-FR" sz="2000" kern="1200" dirty="0"/>
            <a:t>Extra: Troubleshooting TempDB Performance</a:t>
          </a:r>
        </a:p>
        <a:p>
          <a:pPr marL="228600" lvl="1" indent="-228600" algn="l" defTabSz="889000">
            <a:lnSpc>
              <a:spcPct val="90000"/>
            </a:lnSpc>
            <a:spcBef>
              <a:spcPct val="0"/>
            </a:spcBef>
            <a:spcAft>
              <a:spcPct val="15000"/>
            </a:spcAft>
            <a:buChar char="•"/>
          </a:pPr>
          <a:r>
            <a:rPr lang="en-US" sz="2000" kern="1200"/>
            <a:t>Extra: Partitioned Tables and Indexes</a:t>
          </a:r>
          <a:endParaRPr lang="en-US" sz="2000" kern="1200" dirty="0"/>
        </a:p>
        <a:p>
          <a:pPr marL="228600" lvl="1" indent="-228600" algn="l" defTabSz="889000">
            <a:lnSpc>
              <a:spcPct val="90000"/>
            </a:lnSpc>
            <a:spcBef>
              <a:spcPct val="0"/>
            </a:spcBef>
            <a:spcAft>
              <a:spcPct val="15000"/>
            </a:spcAft>
            <a:buChar char="•"/>
          </a:pPr>
          <a:r>
            <a:rPr lang="fr-FR" sz="2000" kern="1200" dirty="0"/>
            <a:t>Extra: Columnstore Indexes</a:t>
          </a:r>
        </a:p>
        <a:p>
          <a:pPr marL="228600" lvl="1" indent="-228600" algn="l" defTabSz="889000">
            <a:lnSpc>
              <a:spcPct val="90000"/>
            </a:lnSpc>
            <a:spcBef>
              <a:spcPct val="0"/>
            </a:spcBef>
            <a:spcAft>
              <a:spcPct val="15000"/>
            </a:spcAft>
            <a:buChar char="•"/>
          </a:pPr>
          <a:r>
            <a:rPr lang="fr-FR" sz="2000" kern="1200" dirty="0"/>
            <a:t>Extra: In-Memory OLTP</a:t>
          </a:r>
        </a:p>
        <a:p>
          <a:pPr marL="228600" lvl="1" indent="-228600" algn="l" defTabSz="889000">
            <a:lnSpc>
              <a:spcPct val="90000"/>
            </a:lnSpc>
            <a:spcBef>
              <a:spcPct val="0"/>
            </a:spcBef>
            <a:spcAft>
              <a:spcPct val="15000"/>
            </a:spcAft>
            <a:buChar char="•"/>
          </a:pPr>
          <a:r>
            <a:rPr lang="en-US" sz="2000" kern="1200"/>
            <a:t>Extra: SQL Server Intelligent Query Processing</a:t>
          </a:r>
          <a:endParaRPr lang="en-US" sz="2000" kern="1200" dirty="0"/>
        </a:p>
        <a:p>
          <a:pPr marL="228600" lvl="1" indent="-228600" algn="l" defTabSz="889000">
            <a:lnSpc>
              <a:spcPct val="90000"/>
            </a:lnSpc>
            <a:spcBef>
              <a:spcPct val="0"/>
            </a:spcBef>
            <a:spcAft>
              <a:spcPct val="15000"/>
            </a:spcAft>
            <a:buChar char="•"/>
          </a:pPr>
          <a:r>
            <a:rPr lang="en-US" sz="2000" kern="1200" dirty="0"/>
            <a:t>Extra: SQL Server Resource Governor </a:t>
          </a:r>
          <a:endParaRPr lang="fr-FR" sz="2000" kern="1200" dirty="0"/>
        </a:p>
      </dsp:txBody>
      <dsp:txXfrm>
        <a:off x="3635773" y="1394254"/>
        <a:ext cx="7726018" cy="265443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4.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5.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1/4/2024</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aka.ms/premiereducation  redirects to https://mslearningcampus.com/User/Login?ReturnUrl=%2f</a:t>
            </a:r>
          </a:p>
          <a:p>
            <a:r>
              <a:rPr lang="en-US" dirty="0"/>
              <a:t>##########</a:t>
            </a:r>
          </a:p>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a:p>
        </p:txBody>
      </p:sp>
      <p:sp>
        <p:nvSpPr>
          <p:cNvPr id="5" name="Date Placeholder 4"/>
          <p:cNvSpPr>
            <a:spLocks noGrp="1"/>
          </p:cNvSpPr>
          <p:nvPr>
            <p:ph type="dt" idx="11"/>
          </p:nvPr>
        </p:nvSpPr>
        <p:spPr/>
        <p:txBody>
          <a:bodyPr/>
          <a:lstStyle/>
          <a:p>
            <a:fld id="{D94EBC20-BA13-4080-8FB6-591972FDA3AE}" type="datetime1">
              <a:rPr lang="en-US"/>
              <a:pPr/>
              <a:t>1/4/2024</a:t>
            </a:fld>
            <a:endParaRPr lang="en-US"/>
          </a:p>
        </p:txBody>
      </p:sp>
    </p:spTree>
    <p:extLst>
      <p:ext uri="{BB962C8B-B14F-4D97-AF65-F5344CB8AC3E}">
        <p14:creationId xmlns:p14="http://schemas.microsoft.com/office/powerpoint/2010/main" val="3876782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aka.ms/premiereducation  redirects to https://mslearningcampus.com/User/Login?ReturnUrl=%2f</a:t>
            </a:r>
          </a:p>
          <a:p>
            <a:r>
              <a:rPr lang="en-US" dirty="0"/>
              <a:t>##########</a:t>
            </a:r>
          </a:p>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2</a:t>
            </a:fld>
            <a:endParaRPr lang="en-US"/>
          </a:p>
        </p:txBody>
      </p:sp>
      <p:sp>
        <p:nvSpPr>
          <p:cNvPr id="5" name="Date Placeholder 4"/>
          <p:cNvSpPr>
            <a:spLocks noGrp="1"/>
          </p:cNvSpPr>
          <p:nvPr>
            <p:ph type="dt" idx="11"/>
          </p:nvPr>
        </p:nvSpPr>
        <p:spPr/>
        <p:txBody>
          <a:bodyPr/>
          <a:lstStyle/>
          <a:p>
            <a:fld id="{D94EBC20-BA13-4080-8FB6-591972FDA3AE}" type="datetime1">
              <a:rPr lang="en-US"/>
              <a:pPr/>
              <a:t>1/4/2024</a:t>
            </a:fld>
            <a:endParaRPr lang="en-US"/>
          </a:p>
        </p:txBody>
      </p:sp>
    </p:spTree>
    <p:extLst>
      <p:ext uri="{BB962C8B-B14F-4D97-AF65-F5344CB8AC3E}">
        <p14:creationId xmlns:p14="http://schemas.microsoft.com/office/powerpoint/2010/main" val="4211095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3</a:t>
            </a:fld>
            <a:endParaRPr lang="en-US"/>
          </a:p>
        </p:txBody>
      </p:sp>
      <p:sp>
        <p:nvSpPr>
          <p:cNvPr id="5" name="Date Placeholder 4"/>
          <p:cNvSpPr>
            <a:spLocks noGrp="1"/>
          </p:cNvSpPr>
          <p:nvPr>
            <p:ph type="dt" idx="11"/>
          </p:nvPr>
        </p:nvSpPr>
        <p:spPr/>
        <p:txBody>
          <a:bodyPr/>
          <a:lstStyle/>
          <a:p>
            <a:fld id="{D94EBC20-BA13-4080-8FB6-591972FDA3AE}" type="datetime1">
              <a:rPr lang="en-US"/>
              <a:pPr/>
              <a:t>1/4/2024</a:t>
            </a:fld>
            <a:endParaRPr lang="en-US"/>
          </a:p>
        </p:txBody>
      </p:sp>
    </p:spTree>
    <p:extLst>
      <p:ext uri="{BB962C8B-B14F-4D97-AF65-F5344CB8AC3E}">
        <p14:creationId xmlns:p14="http://schemas.microsoft.com/office/powerpoint/2010/main" val="4132729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a:p>
        </p:txBody>
      </p:sp>
      <p:sp>
        <p:nvSpPr>
          <p:cNvPr id="5" name="Date Placeholder 4"/>
          <p:cNvSpPr>
            <a:spLocks noGrp="1"/>
          </p:cNvSpPr>
          <p:nvPr>
            <p:ph type="dt" idx="11"/>
          </p:nvPr>
        </p:nvSpPr>
        <p:spPr/>
        <p:txBody>
          <a:bodyPr/>
          <a:lstStyle/>
          <a:p>
            <a:fld id="{D94EBC20-BA13-4080-8FB6-591972FDA3AE}" type="datetime1">
              <a:rPr lang="en-US"/>
              <a:pPr/>
              <a:t>1/4/2024</a:t>
            </a:fld>
            <a:endParaRPr lang="en-US"/>
          </a:p>
        </p:txBody>
      </p:sp>
    </p:spTree>
    <p:extLst>
      <p:ext uri="{BB962C8B-B14F-4D97-AF65-F5344CB8AC3E}">
        <p14:creationId xmlns:p14="http://schemas.microsoft.com/office/powerpoint/2010/main" val="4155340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15</a:t>
            </a:fld>
            <a:endParaRPr lang="en-US"/>
          </a:p>
        </p:txBody>
      </p:sp>
    </p:spTree>
    <p:extLst>
      <p:ext uri="{BB962C8B-B14F-4D97-AF65-F5344CB8AC3E}">
        <p14:creationId xmlns:p14="http://schemas.microsoft.com/office/powerpoint/2010/main" val="29293750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7</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1/4/2024</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4/2024</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54764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180890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817825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307236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473494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421846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lvl="0"/>
            <a:fld id="{597F6B16-CB15-433B-8368-B66F1F29E3BC}" type="datetime1">
              <a:rPr lang="en-US" noProof="0"/>
              <a:t>1/4/2024</a:t>
            </a:fld>
            <a:endParaRPr lang="en-US" noProof="0"/>
          </a:p>
        </p:txBody>
      </p:sp>
      <p:sp>
        <p:nvSpPr>
          <p:cNvPr id="7" name="Slide Number Placeholder 6"/>
          <p:cNvSpPr>
            <a:spLocks noGrp="1"/>
          </p:cNvSpPr>
          <p:nvPr>
            <p:ph type="sldNum" sz="quarter" idx="12"/>
          </p:nvPr>
        </p:nvSpPr>
        <p:spPr/>
        <p:txBody>
          <a:bodyPr/>
          <a:lstStyle/>
          <a:p>
            <a:pPr lvl="0"/>
            <a:fld id="{8B263312-38AA-4E1E-B2B5-0F8F122B24FE}" type="slidenum">
              <a:rPr lang="en-US" noProof="0"/>
              <a:pPr lvl="0"/>
              <a:t>9</a:t>
            </a:fld>
            <a:endParaRPr lang="en-US" noProof="0"/>
          </a:p>
        </p:txBody>
      </p:sp>
      <p:sp>
        <p:nvSpPr>
          <p:cNvPr id="12" name="Slide Image Placeholder 11">
            <a:extLst>
              <a:ext uri="{FF2B5EF4-FFF2-40B4-BE49-F238E27FC236}">
                <a16:creationId xmlns:a16="http://schemas.microsoft.com/office/drawing/2014/main" id="{EB31DD26-6ADF-4FCA-AA9F-50688B90C6FC}"/>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DC9BC269-5CA0-4FD4-A9C3-B63A61288F3F}"/>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15E700E7-D098-4358-9C81-9A01706B103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138791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537074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9543966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61075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0536273"/>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5302909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03189456"/>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3322639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782099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801119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5398144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7292481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3176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45143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08109388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27604703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2134569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9705085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3870603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576340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20522157"/>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377708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2377338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3374038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92488913"/>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3079758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5906293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8196096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237527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92580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317088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309721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938078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78115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415255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8806994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6638034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7768852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148565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218262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36653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703321"/>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0422522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82266300"/>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640258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61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75741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theme" Target="../theme/theme2.xml"/><Relationship Id="rId50" Type="http://schemas.openxmlformats.org/officeDocument/2006/relationships/tags" Target="../tags/tag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tags" Target="../tags/tag6.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tags" Target="../tags/tag5.xml"/><Relationship Id="rId8" Type="http://schemas.openxmlformats.org/officeDocument/2006/relationships/slideLayout" Target="../slideLayouts/slideLayout52.xml"/><Relationship Id="rId51" Type="http://schemas.openxmlformats.org/officeDocument/2006/relationships/image" Target="../media/image1.emf"/><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427202"/>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customXml" Target="../../customXml/item25.xml"/><Relationship Id="rId1" Type="http://schemas.openxmlformats.org/officeDocument/2006/relationships/tags" Target="../tags/tag8.xml"/><Relationship Id="rId6" Type="http://schemas.openxmlformats.org/officeDocument/2006/relationships/notesSlide" Target="../notesSlides/notesSlide1.xml"/><Relationship Id="rId5" Type="http://schemas.openxmlformats.org/officeDocument/2006/relationships/slideLayout" Target="../slideLayouts/slideLayout3.xml"/><Relationship Id="rId4" Type="http://schemas.openxmlformats.org/officeDocument/2006/relationships/customXml" Target="../../customXml/item1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18.xml"/><Relationship Id="rId5" Type="http://schemas.openxmlformats.org/officeDocument/2006/relationships/image" Target="../media/image7.sv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21.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22.xml"/><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23.xml"/><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24.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3.xml"/><Relationship Id="rId1" Type="http://schemas.openxmlformats.org/officeDocument/2006/relationships/tags" Target="../tags/tag25.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customXml" Target="../../customXml/item11.xml"/><Relationship Id="rId7" Type="http://schemas.openxmlformats.org/officeDocument/2006/relationships/image" Target="../media/image5.png"/><Relationship Id="rId2" Type="http://schemas.openxmlformats.org/officeDocument/2006/relationships/customXml" Target="../../customXml/item7.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14.xml"/><Relationship Id="rId7" Type="http://schemas.openxmlformats.org/officeDocument/2006/relationships/diagramQuickStyle" Target="../diagrams/quickStyle2.xml"/><Relationship Id="rId2" Type="http://schemas.openxmlformats.org/officeDocument/2006/relationships/customXml" Target="../../customXml/item21.xml"/><Relationship Id="rId1" Type="http://schemas.openxmlformats.org/officeDocument/2006/relationships/tags" Target="../tags/tag1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3.xml"/><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14.xml"/><Relationship Id="rId7" Type="http://schemas.openxmlformats.org/officeDocument/2006/relationships/diagramQuickStyle" Target="../diagrams/quickStyle3.xml"/><Relationship Id="rId2" Type="http://schemas.openxmlformats.org/officeDocument/2006/relationships/customXml" Target="../../customXml/item27.xml"/><Relationship Id="rId1" Type="http://schemas.openxmlformats.org/officeDocument/2006/relationships/tags" Target="../tags/tag13.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4.xml"/><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14.xml"/><Relationship Id="rId7" Type="http://schemas.openxmlformats.org/officeDocument/2006/relationships/diagramQuickStyle" Target="../diagrams/quickStyle4.xml"/><Relationship Id="rId2" Type="http://schemas.openxmlformats.org/officeDocument/2006/relationships/customXml" Target="../../customXml/item20.xml"/><Relationship Id="rId1" Type="http://schemas.openxmlformats.org/officeDocument/2006/relationships/tags" Target="../tags/tag14.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notesSlide" Target="../notesSlides/notesSlide5.xml"/><Relationship Id="rId9" Type="http://schemas.microsoft.com/office/2007/relationships/diagramDrawing" Target="../diagrams/drawing4.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Layout" Target="../slideLayouts/slideLayout14.xml"/><Relationship Id="rId7" Type="http://schemas.openxmlformats.org/officeDocument/2006/relationships/diagramQuickStyle" Target="../diagrams/quickStyle5.xml"/><Relationship Id="rId2" Type="http://schemas.openxmlformats.org/officeDocument/2006/relationships/customXml" Target="../../customXml/item2.xml"/><Relationship Id="rId1" Type="http://schemas.openxmlformats.org/officeDocument/2006/relationships/tags" Target="../tags/tag15.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notesSlide" Target="../notesSlides/notesSlide6.xml"/><Relationship Id="rId9" Type="http://schemas.microsoft.com/office/2007/relationships/diagramDrawing" Target="../diagrams/drawing5.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Layout" Target="../slideLayouts/slideLayout14.xml"/><Relationship Id="rId7" Type="http://schemas.openxmlformats.org/officeDocument/2006/relationships/diagramQuickStyle" Target="../diagrams/quickStyle6.xml"/><Relationship Id="rId2" Type="http://schemas.openxmlformats.org/officeDocument/2006/relationships/customXml" Target="../../customXml/item9.xml"/><Relationship Id="rId1" Type="http://schemas.openxmlformats.org/officeDocument/2006/relationships/tags" Target="../tags/tag16.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notesSlide" Target="../notesSlides/notesSlide7.xml"/><Relationship Id="rId9" Type="http://schemas.microsoft.com/office/2007/relationships/diagramDrawing" Target="../diagrams/drawing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a:xfrm>
            <a:off x="566184" y="2462320"/>
            <a:ext cx="4352925" cy="1097280"/>
          </a:xfrm>
        </p:spPr>
        <p:txBody>
          <a:bodyPr/>
          <a:lstStyle/>
          <a:p>
            <a:pPr algn="ctr"/>
            <a:r>
              <a:rPr lang="en-US" dirty="0"/>
              <a:t>WorkshopPLUS – </a:t>
            </a:r>
            <a:br>
              <a:rPr lang="en-US" dirty="0"/>
            </a:br>
            <a:r>
              <a:rPr lang="en-US" dirty="0"/>
              <a:t>SQL Server: Performance Tuning and Optimization</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7" cstate="screen">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nvGraphicFramePr>
        <p:xfrm>
          <a:off x="6852602" y="2119594"/>
          <a:ext cx="3820159" cy="2661493"/>
        </p:xfrm>
        <a:graphic>
          <a:graphicData uri="http://schemas.openxmlformats.org/drawingml/2006/table">
            <a:tbl>
              <a:tblPr firstRow="1" bandRow="1">
                <a:tableStyleId>{2D5ABB26-0587-4C30-8999-92F81FD0307C}</a:tableStyleId>
              </a:tblPr>
              <a:tblGrid>
                <a:gridCol w="1095286">
                  <a:extLst>
                    <a:ext uri="{9D8B030D-6E8A-4147-A177-3AD203B41FA5}">
                      <a16:colId xmlns:a16="http://schemas.microsoft.com/office/drawing/2014/main" val="3725280439"/>
                    </a:ext>
                  </a:extLst>
                </a:gridCol>
                <a:gridCol w="1423824">
                  <a:extLst>
                    <a:ext uri="{9D8B030D-6E8A-4147-A177-3AD203B41FA5}">
                      <a16:colId xmlns:a16="http://schemas.microsoft.com/office/drawing/2014/main" val="3776563889"/>
                    </a:ext>
                  </a:extLst>
                </a:gridCol>
                <a:gridCol w="1301049">
                  <a:extLst>
                    <a:ext uri="{9D8B030D-6E8A-4147-A177-3AD203B41FA5}">
                      <a16:colId xmlns:a16="http://schemas.microsoft.com/office/drawing/2014/main" val="3832914547"/>
                    </a:ext>
                  </a:extLst>
                </a:gridCol>
              </a:tblGrid>
              <a:tr h="770313">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195918">
                <a:tc vMerge="1">
                  <a:txBody>
                    <a:bodyPr/>
                    <a:lstStyle/>
                    <a:p>
                      <a:endParaRPr lang="en-US"/>
                    </a:p>
                  </a:txBody>
                  <a:tcPr/>
                </a:tc>
                <a:tc>
                  <a:txBody>
                    <a:bodyPr/>
                    <a:lstStyle/>
                    <a:p>
                      <a:pPr algn="ctr"/>
                      <a:r>
                        <a:rPr lang="en-US" sz="2400">
                          <a:solidFill>
                            <a:schemeClr val="lt2"/>
                          </a:solidFill>
                          <a:latin typeface="Lucida Console" panose="020B0609040504020204" pitchFamily="49" charset="0"/>
                        </a:rPr>
                        <a:t>SQL Server</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262">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33682" y="349"/>
            <a:ext cx="6857999" cy="6861175"/>
          </a:xfrm>
          <a:prstGeom prst="rect">
            <a:avLst/>
          </a:prstGeom>
          <a:solidFill>
            <a:schemeClr val="tx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1015307-4426-B211-FB86-49575486F311}"/>
              </a:ext>
            </a:extLst>
          </p:cNvPr>
          <p:cNvSpPr txBox="1">
            <a:spLocks/>
          </p:cNvSpPr>
          <p:nvPr>
            <p:custDataLst>
              <p:custData r:id="rId4"/>
            </p:custDataLst>
          </p:nvPr>
        </p:nvSpPr>
        <p:spPr>
          <a:xfrm>
            <a:off x="188068" y="4454192"/>
            <a:ext cx="4977415" cy="1097280"/>
          </a:xfrm>
          <a:prstGeom prst="rect">
            <a:avLst/>
          </a:prstGeom>
          <a:ln>
            <a:noFill/>
          </a:ln>
        </p:spPr>
        <p:txBody>
          <a:bodyPr vert="horz" wrap="square" lIns="0" tIns="0" rIns="0" bIns="45720" rtlCol="0" anchor="b">
            <a:noAutofit/>
          </a:bodyPr>
          <a:lstStyle>
            <a:lvl1pPr algn="l" defTabSz="932742" rtl="0" eaLnBrk="1" latinLnBrk="0" hangingPunct="1">
              <a:lnSpc>
                <a:spcPts val="3620"/>
              </a:lnSpc>
              <a:spcBef>
                <a:spcPct val="0"/>
              </a:spcBef>
              <a:buNone/>
              <a:defRPr lang="en-GB" sz="3600" b="0" kern="1200" cap="none" spc="-50" baseline="0">
                <a:ln w="3175">
                  <a:noFill/>
                </a:ln>
                <a:solidFill>
                  <a:schemeClr val="tx1"/>
                </a:solidFill>
                <a:effectLst/>
                <a:latin typeface="+mj-lt"/>
                <a:ea typeface="+mn-ea"/>
                <a:cs typeface="Segoe UI" pitchFamily="34" charset="0"/>
              </a:defRPr>
            </a:lvl1pPr>
          </a:lstStyle>
          <a:p>
            <a:pPr algn="ctr"/>
            <a:r>
              <a:rPr lang="en-US" dirty="0"/>
              <a:t>&lt;Instructor Name&gt;</a:t>
            </a:r>
          </a:p>
        </p:txBody>
      </p:sp>
    </p:spTree>
    <p:custDataLst>
      <p:tags r:id="rId1"/>
    </p:custDataLst>
    <p:extLst>
      <p:ext uri="{BB962C8B-B14F-4D97-AF65-F5344CB8AC3E}">
        <p14:creationId xmlns:p14="http://schemas.microsoft.com/office/powerpoint/2010/main" val="1438761429"/>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p:txBody>
      </p:sp>
      <p:pic>
        <p:nvPicPr>
          <p:cNvPr id="6" name="Picture Placeholder 5" descr="Laptop with phone and calculator">
            <a:extLst>
              <a:ext uri="{FF2B5EF4-FFF2-40B4-BE49-F238E27FC236}">
                <a16:creationId xmlns:a16="http://schemas.microsoft.com/office/drawing/2014/main" id="{7F71561A-F14B-44CE-98CF-9A1211A69B86}"/>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3682" y="0"/>
            <a:ext cx="6858000" cy="6858000"/>
          </a:xfrm>
        </p:spPr>
      </p:pic>
    </p:spTree>
    <p:custDataLst>
      <p:tags r:id="rId1"/>
    </p:custDataLst>
    <p:extLst>
      <p:ext uri="{BB962C8B-B14F-4D97-AF65-F5344CB8AC3E}">
        <p14:creationId xmlns:p14="http://schemas.microsoft.com/office/powerpoint/2010/main" val="3771720372"/>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ctrTitle"/>
          </p:nvPr>
        </p:nvSpPr>
        <p:spPr>
          <a:xfrm>
            <a:off x="655638" y="2487168"/>
            <a:ext cx="4352925" cy="1097280"/>
          </a:xfrm>
        </p:spPr>
        <p:txBody>
          <a:bodyPr wrap="square" anchor="b">
            <a:normAutofit/>
          </a:bodyPr>
          <a:lstStyle/>
          <a:p>
            <a:r>
              <a:rPr lang="en-US" dirty="0"/>
              <a:t>Class Resources</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subTitle" idx="1"/>
          </p:nvPr>
        </p:nvSpPr>
        <p:spPr>
          <a:xfrm>
            <a:off x="655638" y="3895089"/>
            <a:ext cx="4352924" cy="1365067"/>
          </a:xfrm>
        </p:spPr>
        <p:txBody>
          <a:bodyPr>
            <a:normAutofit/>
          </a:bodyPr>
          <a:lstStyle/>
          <a:p>
            <a:pPr lvl="0">
              <a:lnSpc>
                <a:spcPct val="90000"/>
              </a:lnSpc>
            </a:pPr>
            <a:r>
              <a:rPr lang="en-AU" dirty="0"/>
              <a:t>Virtual Lab Environment, Slides Decks, Lab Manuals, and Demo Files</a:t>
            </a:r>
            <a:endParaRPr lang="en-US" dirty="0"/>
          </a:p>
        </p:txBody>
      </p:sp>
      <p:pic>
        <p:nvPicPr>
          <p:cNvPr id="3" name="Picture 2">
            <a:extLst>
              <a:ext uri="{FF2B5EF4-FFF2-40B4-BE49-F238E27FC236}">
                <a16:creationId xmlns:a16="http://schemas.microsoft.com/office/drawing/2014/main" id="{6BBDC9CD-81C6-4822-94A2-FC3E4A0638D3}"/>
              </a:ext>
            </a:extLst>
          </p:cNvPr>
          <p:cNvPicPr>
            <a:picLocks noChangeAspect="1"/>
          </p:cNvPicPr>
          <p:nvPr/>
        </p:nvPicPr>
        <p:blipFill>
          <a:blip r:embed="rId4"/>
          <a:stretch>
            <a:fillRect/>
          </a:stretch>
        </p:blipFill>
        <p:spPr>
          <a:xfrm>
            <a:off x="6605796" y="792095"/>
            <a:ext cx="4352924" cy="5273810"/>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custDataLst>
      <p:tags r:id="rId1"/>
    </p:custDataLst>
    <p:extLst>
      <p:ext uri="{BB962C8B-B14F-4D97-AF65-F5344CB8AC3E}">
        <p14:creationId xmlns:p14="http://schemas.microsoft.com/office/powerpoint/2010/main" val="113132760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ctrTitle"/>
          </p:nvPr>
        </p:nvSpPr>
        <p:spPr>
          <a:xfrm>
            <a:off x="655638" y="2487168"/>
            <a:ext cx="4352925" cy="1097280"/>
          </a:xfrm>
        </p:spPr>
        <p:txBody>
          <a:bodyPr wrap="square" anchor="b">
            <a:normAutofit/>
          </a:bodyPr>
          <a:lstStyle/>
          <a:p>
            <a:r>
              <a:rPr lang="en-US"/>
              <a:t>Launch Lab</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subTitle" idx="1"/>
          </p:nvPr>
        </p:nvSpPr>
        <p:spPr>
          <a:xfrm>
            <a:off x="655638" y="3895090"/>
            <a:ext cx="4352924" cy="311150"/>
          </a:xfrm>
        </p:spPr>
        <p:txBody>
          <a:bodyPr>
            <a:normAutofit/>
          </a:bodyPr>
          <a:lstStyle/>
          <a:p>
            <a:pPr lvl="0">
              <a:lnSpc>
                <a:spcPct val="90000"/>
              </a:lnSpc>
            </a:pPr>
            <a:r>
              <a:rPr lang="en-AU"/>
              <a:t>In the Labs section, click Launch</a:t>
            </a:r>
            <a:endParaRPr lang="en-US"/>
          </a:p>
        </p:txBody>
      </p:sp>
      <p:pic>
        <p:nvPicPr>
          <p:cNvPr id="8" name="Picture 7">
            <a:extLst>
              <a:ext uri="{FF2B5EF4-FFF2-40B4-BE49-F238E27FC236}">
                <a16:creationId xmlns:a16="http://schemas.microsoft.com/office/drawing/2014/main" id="{153A18D7-D396-40C5-B3E7-80B50F50E74F}"/>
              </a:ext>
            </a:extLst>
          </p:cNvPr>
          <p:cNvPicPr>
            <a:picLocks noChangeAspect="1"/>
          </p:cNvPicPr>
          <p:nvPr/>
        </p:nvPicPr>
        <p:blipFill>
          <a:blip r:embed="rId4"/>
          <a:stretch>
            <a:fillRect/>
          </a:stretch>
        </p:blipFill>
        <p:spPr>
          <a:xfrm>
            <a:off x="4886209" y="1818513"/>
            <a:ext cx="6858000" cy="3531870"/>
          </a:xfrm>
          <a:prstGeom prst="rect">
            <a:avLst/>
          </a:prstGeom>
          <a:noFill/>
        </p:spPr>
      </p:pic>
      <p:sp>
        <p:nvSpPr>
          <p:cNvPr id="2" name="Rectangle 1">
            <a:extLst>
              <a:ext uri="{FF2B5EF4-FFF2-40B4-BE49-F238E27FC236}">
                <a16:creationId xmlns:a16="http://schemas.microsoft.com/office/drawing/2014/main" id="{4A26C164-A529-4CA0-9208-A666A2A7ADF7}"/>
              </a:ext>
            </a:extLst>
          </p:cNvPr>
          <p:cNvSpPr/>
          <p:nvPr/>
        </p:nvSpPr>
        <p:spPr bwMode="auto">
          <a:xfrm>
            <a:off x="6841381" y="3895090"/>
            <a:ext cx="1727583" cy="535508"/>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2889770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Lab environment</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a:xfrm>
            <a:off x="655638" y="2802023"/>
            <a:ext cx="4352925" cy="2643188"/>
          </a:xfrm>
        </p:spPr>
        <p:txBody>
          <a:bodyPr/>
          <a:lstStyle/>
          <a:p>
            <a:pPr lvl="0"/>
            <a:r>
              <a:rPr lang="en-US" dirty="0"/>
              <a:t>Lab Instructions are shown on the right side of the virtual machine. </a:t>
            </a:r>
          </a:p>
        </p:txBody>
      </p:sp>
      <p:sp>
        <p:nvSpPr>
          <p:cNvPr id="6" name="Picture Placeholder 5">
            <a:extLst>
              <a:ext uri="{FF2B5EF4-FFF2-40B4-BE49-F238E27FC236}">
                <a16:creationId xmlns:a16="http://schemas.microsoft.com/office/drawing/2014/main" id="{99F4DD2A-D147-4C8D-821D-32073CCCB49A}"/>
              </a:ext>
              <a:ext uri="{C183D7F6-B498-43B3-948B-1728B52AA6E4}">
                <adec:decorative xmlns:adec="http://schemas.microsoft.com/office/drawing/2017/decorative" val="1"/>
              </a:ext>
            </a:extLst>
          </p:cNvPr>
          <p:cNvSpPr>
            <a:spLocks noGrp="1"/>
          </p:cNvSpPr>
          <p:nvPr>
            <p:ph type="pic" sz="quarter" idx="15"/>
          </p:nvPr>
        </p:nvSpPr>
        <p:spPr>
          <a:xfrm>
            <a:off x="5334000" y="0"/>
            <a:ext cx="6858000" cy="6858000"/>
          </a:xfrm>
        </p:spPr>
        <p:txBody>
          <a:bodyPr/>
          <a:lstStyle/>
          <a:p>
            <a:endParaRPr lang="en-US"/>
          </a:p>
        </p:txBody>
      </p:sp>
      <p:pic>
        <p:nvPicPr>
          <p:cNvPr id="1026" name="Picture 2">
            <a:extLst>
              <a:ext uri="{FF2B5EF4-FFF2-40B4-BE49-F238E27FC236}">
                <a16:creationId xmlns:a16="http://schemas.microsoft.com/office/drawing/2014/main" id="{A1392DDD-7ABF-7B4C-46FA-12FDB11D8D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77005" y="922066"/>
            <a:ext cx="3571990" cy="522031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ED64B6B-D2DA-42DA-8B3E-A94CFC916144}"/>
              </a:ext>
            </a:extLst>
          </p:cNvPr>
          <p:cNvSpPr/>
          <p:nvPr/>
        </p:nvSpPr>
        <p:spPr bwMode="auto">
          <a:xfrm>
            <a:off x="6907369" y="922067"/>
            <a:ext cx="907452" cy="389898"/>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22472716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Lab environment </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a:xfrm>
            <a:off x="730734" y="2773743"/>
            <a:ext cx="4352925" cy="2643188"/>
          </a:xfrm>
        </p:spPr>
        <p:txBody>
          <a:bodyPr/>
          <a:lstStyle/>
          <a:p>
            <a:pPr lvl="0"/>
            <a:r>
              <a:rPr lang="en-US" dirty="0"/>
              <a:t>Use the </a:t>
            </a:r>
            <a:r>
              <a:rPr lang="en-US" dirty="0" err="1"/>
              <a:t>Ctrl+Alt+Delete</a:t>
            </a:r>
            <a:r>
              <a:rPr lang="en-US" dirty="0"/>
              <a:t> button to logon to the virtual machine.</a:t>
            </a:r>
          </a:p>
          <a:p>
            <a:pPr lvl="0"/>
            <a:endParaRPr lang="en-US" dirty="0"/>
          </a:p>
          <a:p>
            <a:pPr lvl="0"/>
            <a:r>
              <a:rPr lang="en-US" dirty="0"/>
              <a:t>You can click on the </a:t>
            </a:r>
            <a:r>
              <a:rPr lang="en-US" dirty="0">
                <a:solidFill>
                  <a:schemeClr val="accent4">
                    <a:lumMod val="60000"/>
                    <a:lumOff val="40000"/>
                  </a:schemeClr>
                </a:solidFill>
              </a:rPr>
              <a:t>T</a:t>
            </a:r>
            <a:r>
              <a:rPr lang="en-US" dirty="0"/>
              <a:t> next to Username and Password to paste in the virtual machine.</a:t>
            </a:r>
          </a:p>
        </p:txBody>
      </p:sp>
      <p:sp>
        <p:nvSpPr>
          <p:cNvPr id="6" name="Picture Placeholder 5">
            <a:extLst>
              <a:ext uri="{FF2B5EF4-FFF2-40B4-BE49-F238E27FC236}">
                <a16:creationId xmlns:a16="http://schemas.microsoft.com/office/drawing/2014/main" id="{99F4DD2A-D147-4C8D-821D-32073CCCB49A}"/>
              </a:ext>
              <a:ext uri="{C183D7F6-B498-43B3-948B-1728B52AA6E4}">
                <adec:decorative xmlns:adec="http://schemas.microsoft.com/office/drawing/2017/decorative" val="1"/>
              </a:ext>
            </a:extLst>
          </p:cNvPr>
          <p:cNvSpPr>
            <a:spLocks noGrp="1"/>
          </p:cNvSpPr>
          <p:nvPr>
            <p:ph type="pic" sz="quarter" idx="15"/>
          </p:nvPr>
        </p:nvSpPr>
        <p:spPr/>
        <p:txBody>
          <a:bodyPr/>
          <a:lstStyle/>
          <a:p>
            <a:endParaRPr lang="en-US"/>
          </a:p>
        </p:txBody>
      </p:sp>
      <p:pic>
        <p:nvPicPr>
          <p:cNvPr id="10" name="Picture 9">
            <a:extLst>
              <a:ext uri="{FF2B5EF4-FFF2-40B4-BE49-F238E27FC236}">
                <a16:creationId xmlns:a16="http://schemas.microsoft.com/office/drawing/2014/main" id="{BAD82A94-7FF3-4240-9DD3-AAFB41E7B36E}"/>
              </a:ext>
            </a:extLst>
          </p:cNvPr>
          <p:cNvPicPr>
            <a:picLocks noChangeAspect="1"/>
          </p:cNvPicPr>
          <p:nvPr/>
        </p:nvPicPr>
        <p:blipFill>
          <a:blip r:embed="rId4"/>
          <a:stretch>
            <a:fillRect/>
          </a:stretch>
        </p:blipFill>
        <p:spPr>
          <a:xfrm>
            <a:off x="7028898" y="2202073"/>
            <a:ext cx="3696020" cy="2453853"/>
          </a:xfrm>
          <a:prstGeom prst="rect">
            <a:avLst/>
          </a:prstGeom>
        </p:spPr>
      </p:pic>
      <p:sp>
        <p:nvSpPr>
          <p:cNvPr id="12" name="Rectangle 11">
            <a:extLst>
              <a:ext uri="{FF2B5EF4-FFF2-40B4-BE49-F238E27FC236}">
                <a16:creationId xmlns:a16="http://schemas.microsoft.com/office/drawing/2014/main" id="{21F6AC04-3896-4C88-BDA4-E68F124F32DC}"/>
              </a:ext>
            </a:extLst>
          </p:cNvPr>
          <p:cNvSpPr/>
          <p:nvPr/>
        </p:nvSpPr>
        <p:spPr bwMode="auto">
          <a:xfrm>
            <a:off x="7821770" y="2112987"/>
            <a:ext cx="907452" cy="463673"/>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838357464"/>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679F2-02A3-45D6-B5C7-23FD3301CC2E}"/>
              </a:ext>
            </a:extLst>
          </p:cNvPr>
          <p:cNvSpPr>
            <a:spLocks noGrp="1"/>
          </p:cNvSpPr>
          <p:nvPr>
            <p:ph type="title"/>
          </p:nvPr>
        </p:nvSpPr>
        <p:spPr/>
        <p:txBody>
          <a:bodyPr/>
          <a:lstStyle/>
          <a:p>
            <a:r>
              <a:rPr lang="en-US" dirty="0"/>
              <a:t>Lab Time Remaining</a:t>
            </a:r>
          </a:p>
        </p:txBody>
      </p:sp>
      <p:sp>
        <p:nvSpPr>
          <p:cNvPr id="3" name="Text Placeholder 2">
            <a:extLst>
              <a:ext uri="{FF2B5EF4-FFF2-40B4-BE49-F238E27FC236}">
                <a16:creationId xmlns:a16="http://schemas.microsoft.com/office/drawing/2014/main" id="{8D97F1AA-8831-46A6-999A-E30ADE311DBF}"/>
              </a:ext>
            </a:extLst>
          </p:cNvPr>
          <p:cNvSpPr>
            <a:spLocks noGrp="1"/>
          </p:cNvSpPr>
          <p:nvPr>
            <p:ph type="body" sz="quarter" idx="10"/>
          </p:nvPr>
        </p:nvSpPr>
        <p:spPr>
          <a:xfrm>
            <a:off x="655638" y="2339271"/>
            <a:ext cx="4352925" cy="3269304"/>
          </a:xfrm>
        </p:spPr>
        <p:txBody>
          <a:bodyPr/>
          <a:lstStyle/>
          <a:p>
            <a:pPr marL="342900" indent="-342900">
              <a:buFont typeface="Arial" panose="020B0604020202020204" pitchFamily="34" charset="0"/>
              <a:buChar char="•"/>
            </a:pPr>
            <a:r>
              <a:rPr lang="en-US" dirty="0"/>
              <a:t>Ensure you select </a:t>
            </a:r>
            <a:r>
              <a:rPr lang="en-US" b="1" dirty="0"/>
              <a:t>Save</a:t>
            </a:r>
            <a:r>
              <a:rPr lang="en-US" dirty="0"/>
              <a:t> before leaving the Lab environment.  </a:t>
            </a:r>
          </a:p>
          <a:p>
            <a:pPr marL="342900" indent="-342900">
              <a:buFont typeface="Arial" panose="020B0604020202020204" pitchFamily="34" charset="0"/>
              <a:buChar char="•"/>
            </a:pPr>
            <a:r>
              <a:rPr lang="en-US" dirty="0"/>
              <a:t>You can save up to 5 labs for up to 7 days. </a:t>
            </a:r>
          </a:p>
          <a:p>
            <a:pPr marL="342900" indent="-342900">
              <a:buFont typeface="Arial" panose="020B0604020202020204" pitchFamily="34" charset="0"/>
              <a:buChar char="•"/>
            </a:pPr>
            <a:r>
              <a:rPr lang="en-US" dirty="0"/>
              <a:t>The lab environment is available for 180 days.</a:t>
            </a:r>
          </a:p>
          <a:p>
            <a:pPr marL="342900" indent="-342900">
              <a:buFont typeface="Arial" panose="020B0604020202020204" pitchFamily="34" charset="0"/>
              <a:buChar char="•"/>
            </a:pPr>
            <a:r>
              <a:rPr lang="en-US" dirty="0"/>
              <a:t>Split Windows will allow you to move the instructions to a separate screen.</a:t>
            </a:r>
          </a:p>
        </p:txBody>
      </p:sp>
      <p:sp>
        <p:nvSpPr>
          <p:cNvPr id="9" name="Picture Placeholder 8">
            <a:extLst>
              <a:ext uri="{FF2B5EF4-FFF2-40B4-BE49-F238E27FC236}">
                <a16:creationId xmlns:a16="http://schemas.microsoft.com/office/drawing/2014/main" id="{74F5144A-51FD-4A09-A25E-51FE619C822D}"/>
              </a:ext>
              <a:ext uri="{C183D7F6-B498-43B3-948B-1728B52AA6E4}">
                <adec:decorative xmlns:adec="http://schemas.microsoft.com/office/drawing/2017/decorative" val="1"/>
              </a:ext>
            </a:extLst>
          </p:cNvPr>
          <p:cNvSpPr>
            <a:spLocks noGrp="1"/>
          </p:cNvSpPr>
          <p:nvPr>
            <p:ph type="pic" sz="quarter" idx="15"/>
          </p:nvPr>
        </p:nvSpPr>
        <p:spPr>
          <a:xfrm>
            <a:off x="5314711" y="-45850"/>
            <a:ext cx="6858000" cy="6858000"/>
          </a:xfrm>
        </p:spPr>
        <p:txBody>
          <a:bodyPr/>
          <a:lstStyle/>
          <a:p>
            <a:endParaRPr lang="en-US"/>
          </a:p>
        </p:txBody>
      </p:sp>
      <p:pic>
        <p:nvPicPr>
          <p:cNvPr id="8" name="Picture 7">
            <a:extLst>
              <a:ext uri="{FF2B5EF4-FFF2-40B4-BE49-F238E27FC236}">
                <a16:creationId xmlns:a16="http://schemas.microsoft.com/office/drawing/2014/main" id="{48E15E85-2B66-42F0-8B5B-F39C3283A49A}"/>
              </a:ext>
            </a:extLst>
          </p:cNvPr>
          <p:cNvPicPr>
            <a:picLocks noChangeAspect="1"/>
          </p:cNvPicPr>
          <p:nvPr/>
        </p:nvPicPr>
        <p:blipFill>
          <a:blip r:embed="rId4"/>
          <a:stretch>
            <a:fillRect/>
          </a:stretch>
        </p:blipFill>
        <p:spPr>
          <a:xfrm>
            <a:off x="7002423" y="2339271"/>
            <a:ext cx="3711262" cy="1569856"/>
          </a:xfrm>
          <a:prstGeom prst="rect">
            <a:avLst/>
          </a:prstGeom>
        </p:spPr>
      </p:pic>
      <p:sp>
        <p:nvSpPr>
          <p:cNvPr id="6" name="Oval 5">
            <a:extLst>
              <a:ext uri="{FF2B5EF4-FFF2-40B4-BE49-F238E27FC236}">
                <a16:creationId xmlns:a16="http://schemas.microsoft.com/office/drawing/2014/main" id="{2D82C392-2F6A-4BED-B180-0C5DE3D7F8D8}"/>
              </a:ext>
              <a:ext uri="{C183D7F6-B498-43B3-948B-1728B52AA6E4}">
                <adec:decorative xmlns:adec="http://schemas.microsoft.com/office/drawing/2017/decorative" val="1"/>
              </a:ext>
            </a:extLst>
          </p:cNvPr>
          <p:cNvSpPr/>
          <p:nvPr/>
        </p:nvSpPr>
        <p:spPr bwMode="auto">
          <a:xfrm>
            <a:off x="8858054" y="2137799"/>
            <a:ext cx="2167588" cy="2149182"/>
          </a:xfrm>
          <a:prstGeom prst="ellipse">
            <a:avLst/>
          </a:prstGeom>
          <a:noFill/>
          <a:ln w="57150" cap="flat" cmpd="sng" algn="ctr">
            <a:solidFill>
              <a:schemeClr val="accent3"/>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32161427"/>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C7F33-C8DC-4819-B8FA-9E886AB1CA90}"/>
              </a:ext>
            </a:extLst>
          </p:cNvPr>
          <p:cNvSpPr>
            <a:spLocks noGrp="1"/>
          </p:cNvSpPr>
          <p:nvPr>
            <p:ph type="title"/>
          </p:nvPr>
        </p:nvSpPr>
        <p:spPr/>
        <p:txBody>
          <a:bodyPr/>
          <a:lstStyle/>
          <a:p>
            <a:r>
              <a:rPr lang="en-US"/>
              <a:t>Facilities</a:t>
            </a:r>
          </a:p>
        </p:txBody>
      </p:sp>
      <p:graphicFrame>
        <p:nvGraphicFramePr>
          <p:cNvPr id="4" name="Content Placeholder 3">
            <a:extLst>
              <a:ext uri="{FF2B5EF4-FFF2-40B4-BE49-F238E27FC236}">
                <a16:creationId xmlns:a16="http://schemas.microsoft.com/office/drawing/2014/main" id="{CCFE5CEB-BFD9-48F9-A321-7809A0C5467A}"/>
              </a:ext>
            </a:extLst>
          </p:cNvPr>
          <p:cNvGraphicFramePr>
            <a:graphicFrameLocks noGrp="1"/>
          </p:cNvGraphicFramePr>
          <p:nvPr>
            <p:ph sz="quarter" idx="13"/>
            <p:extLst>
              <p:ext uri="{D42A27DB-BD31-4B8C-83A1-F6EECF244321}">
                <p14:modId xmlns:p14="http://schemas.microsoft.com/office/powerpoint/2010/main" val="1746743037"/>
              </p:ext>
            </p:extLst>
          </p:nvPr>
        </p:nvGraphicFramePr>
        <p:xfrm>
          <a:off x="655638" y="1065228"/>
          <a:ext cx="11109014" cy="51625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533061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SQL Performance Tuning and Optimization workshop,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normAutofit/>
          </a:bodyPr>
          <a:lstStyle/>
          <a:p>
            <a:r>
              <a:rPr lang="en-US" dirty="0"/>
              <a:t>Learn the following SQL Server performance concepts</a:t>
            </a:r>
          </a:p>
          <a:p>
            <a:pPr lvl="1"/>
            <a:r>
              <a:rPr lang="en-US" dirty="0"/>
              <a:t>SQL Server Architecture, Scheduling and Waits</a:t>
            </a:r>
          </a:p>
          <a:p>
            <a:pPr lvl="1"/>
            <a:r>
              <a:rPr lang="en-US" dirty="0"/>
              <a:t>SQL Server Processor and Memory Management</a:t>
            </a:r>
          </a:p>
          <a:p>
            <a:pPr lvl="1"/>
            <a:r>
              <a:rPr lang="en-US" dirty="0"/>
              <a:t>SQL Server I/O and Database Structure</a:t>
            </a:r>
          </a:p>
          <a:p>
            <a:pPr lvl="1"/>
            <a:r>
              <a:rPr lang="en-US" dirty="0"/>
              <a:t>SQL Server Transactions and Concurrency </a:t>
            </a:r>
          </a:p>
          <a:p>
            <a:pPr lvl="1"/>
            <a:r>
              <a:rPr lang="en-US" dirty="0"/>
              <a:t>SQL Server Index Structure</a:t>
            </a:r>
          </a:p>
          <a:p>
            <a:pPr lvl="1"/>
            <a:r>
              <a:rPr lang="en-US" dirty="0"/>
              <a:t>SQL Server Statistics Structure</a:t>
            </a:r>
          </a:p>
          <a:p>
            <a:pPr lvl="1"/>
            <a:r>
              <a:rPr lang="en-US" dirty="0"/>
              <a:t>SQL Server Query Execution and Plans</a:t>
            </a:r>
          </a:p>
          <a:p>
            <a:pPr lvl="1"/>
            <a:r>
              <a:rPr lang="en-US" dirty="0"/>
              <a:t>SQL Server Plan Caching and Query Store</a:t>
            </a:r>
          </a:p>
          <a:p>
            <a:pPr lvl="1"/>
            <a:r>
              <a:rPr lang="en-US" dirty="0"/>
              <a:t>SQL Server Query Tuning</a:t>
            </a:r>
          </a:p>
          <a:p>
            <a:pPr lvl="1"/>
            <a:r>
              <a:rPr lang="en-US" dirty="0"/>
              <a:t>SQL Server Performance Tools</a:t>
            </a:r>
          </a:p>
          <a:p>
            <a:pPr lvl="1"/>
            <a:endParaRPr lang="en-US" dirty="0"/>
          </a:p>
          <a:p>
            <a:pPr marL="0" indent="0">
              <a:buNone/>
            </a:pPr>
            <a:endParaRPr lang="en-US" dirty="0"/>
          </a:p>
          <a:p>
            <a:endParaRPr lang="en-US" dirty="0"/>
          </a:p>
          <a:p>
            <a:endParaRPr lang="en-US" dirty="0"/>
          </a:p>
        </p:txBody>
      </p:sp>
      <p:pic>
        <p:nvPicPr>
          <p:cNvPr id="33" name="Business (13)" descr="A picture containing lamp with exclamation mark">
            <a:extLst>
              <a:ext uri="{FF2B5EF4-FFF2-40B4-BE49-F238E27FC236}">
                <a16:creationId xmlns:a16="http://schemas.microsoft.com/office/drawing/2014/main" id="{BC22353F-89C7-45EE-831B-77CDADFC2251}"/>
              </a:ext>
            </a:extLst>
          </p:cNvPr>
          <p:cNvPicPr>
            <a:picLocks noChangeAspect="1"/>
          </p:cNvPicPr>
          <p:nvPr>
            <p:custDataLst>
              <p:tags r:id="rId4"/>
            </p:custDataLst>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631375335"/>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1</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418624078"/>
              </p:ext>
            </p:extLst>
          </p:nvPr>
        </p:nvGraphicFramePr>
        <p:xfrm>
          <a:off x="415105" y="1002914"/>
          <a:ext cx="11361792" cy="55350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288569000"/>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2</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654921077"/>
              </p:ext>
            </p:extLst>
          </p:nvPr>
        </p:nvGraphicFramePr>
        <p:xfrm>
          <a:off x="415105" y="904461"/>
          <a:ext cx="11361792" cy="55225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98777921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3</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1786392133"/>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2165467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4</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426881382"/>
              </p:ext>
            </p:extLst>
          </p:nvPr>
        </p:nvGraphicFramePr>
        <p:xfrm>
          <a:off x="415105" y="984070"/>
          <a:ext cx="11361792" cy="54429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487444760"/>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Optional Lessons</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1753504274"/>
              </p:ext>
            </p:extLst>
          </p:nvPr>
        </p:nvGraphicFramePr>
        <p:xfrm>
          <a:off x="415105" y="984070"/>
          <a:ext cx="11361792" cy="54429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417005236"/>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Ready to Participate</a:t>
            </a:r>
          </a:p>
        </p:txBody>
      </p:sp>
      <p:sp>
        <p:nvSpPr>
          <p:cNvPr id="3" name="Text Placeholder 2"/>
          <p:cNvSpPr>
            <a:spLocks noGrp="1"/>
          </p:cNvSpPr>
          <p:nvPr>
            <p:ph type="body" sz="quarter" idx="16"/>
          </p:nvPr>
        </p:nvSpPr>
        <p:spPr/>
        <p:txBody>
          <a:bodyPr/>
          <a:lstStyle/>
          <a:p>
            <a:r>
              <a:rPr lang="en-US"/>
              <a:t>Close email and Update Status</a:t>
            </a:r>
          </a:p>
          <a:p>
            <a:r>
              <a:rPr lang="en-US"/>
              <a:t>Make it interactive</a:t>
            </a:r>
          </a:p>
          <a:p>
            <a:r>
              <a:rPr lang="en-US"/>
              <a:t>Check all equipment</a:t>
            </a:r>
          </a:p>
        </p:txBody>
      </p:sp>
      <p:sp>
        <p:nvSpPr>
          <p:cNvPr id="69" name="Picture Placeholder 68">
            <a:extLst>
              <a:ext uri="{FF2B5EF4-FFF2-40B4-BE49-F238E27FC236}">
                <a16:creationId xmlns:a16="http://schemas.microsoft.com/office/drawing/2014/main" id="{11119A8B-20A4-4AC1-87B7-0DF8F835D685}"/>
              </a:ext>
            </a:extLst>
          </p:cNvPr>
          <p:cNvSpPr>
            <a:spLocks noGrp="1"/>
          </p:cNvSpPr>
          <p:nvPr>
            <p:ph type="pic" sz="quarter" idx="15"/>
          </p:nvPr>
        </p:nvSpPr>
        <p:spPr/>
        <p:txBody>
          <a:bodyPr/>
          <a:lstStyle/>
          <a:p>
            <a:endParaRPr lang="en-US"/>
          </a:p>
        </p:txBody>
      </p:sp>
      <p:grpSp>
        <p:nvGrpSpPr>
          <p:cNvPr id="4" name="Group 4">
            <a:extLst>
              <a:ext uri="{FF2B5EF4-FFF2-40B4-BE49-F238E27FC236}">
                <a16:creationId xmlns:a16="http://schemas.microsoft.com/office/drawing/2014/main" id="{4BA81300-7AC4-4548-AF6D-1D6AF6CF573A}"/>
              </a:ext>
              <a:ext uri="{C183D7F6-B498-43B3-948B-1728B52AA6E4}">
                <adec:decorative xmlns:adec="http://schemas.microsoft.com/office/drawing/2017/decorative" val="1"/>
              </a:ext>
            </a:extLst>
          </p:cNvPr>
          <p:cNvGrpSpPr>
            <a:grpSpLocks noChangeAspect="1"/>
          </p:cNvGrpSpPr>
          <p:nvPr/>
        </p:nvGrpSpPr>
        <p:grpSpPr bwMode="auto">
          <a:xfrm>
            <a:off x="7201996" y="1081088"/>
            <a:ext cx="3817938" cy="5146675"/>
            <a:chOff x="4634" y="555"/>
            <a:chExt cx="2405" cy="3242"/>
          </a:xfrm>
        </p:grpSpPr>
        <p:sp>
          <p:nvSpPr>
            <p:cNvPr id="7" name="Freeform 5">
              <a:extLst>
                <a:ext uri="{FF2B5EF4-FFF2-40B4-BE49-F238E27FC236}">
                  <a16:creationId xmlns:a16="http://schemas.microsoft.com/office/drawing/2014/main" id="{37BBCC71-8C0B-4A6F-89CA-BA561CEF0CFC}"/>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F8C7479E-8D9B-4F8B-BC3C-B0BB040A4540}"/>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6B31B912-D064-4BB9-A482-57C06040630C}"/>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D1C2CBE1-0242-4973-B911-020DCA9AB9C9}"/>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16B7B69E-97C5-4EF5-9927-093485FC0FF3}"/>
                </a:ext>
              </a:extLst>
            </p:cNvPr>
            <p:cNvSpPr>
              <a:spLocks/>
            </p:cNvSpPr>
            <p:nvPr/>
          </p:nvSpPr>
          <p:spPr bwMode="auto">
            <a:xfrm>
              <a:off x="4634" y="1988"/>
              <a:ext cx="2405" cy="1809"/>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0">
              <a:extLst>
                <a:ext uri="{FF2B5EF4-FFF2-40B4-BE49-F238E27FC236}">
                  <a16:creationId xmlns:a16="http://schemas.microsoft.com/office/drawing/2014/main" id="{EA0201A5-DFE7-4E32-91BA-357D63688F27}"/>
                </a:ext>
              </a:extLst>
            </p:cNvPr>
            <p:cNvSpPr>
              <a:spLocks noChangeArrowheads="1"/>
            </p:cNvSpPr>
            <p:nvPr/>
          </p:nvSpPr>
          <p:spPr bwMode="auto">
            <a:xfrm>
              <a:off x="4694" y="2048"/>
              <a:ext cx="2285" cy="1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1">
              <a:extLst>
                <a:ext uri="{FF2B5EF4-FFF2-40B4-BE49-F238E27FC236}">
                  <a16:creationId xmlns:a16="http://schemas.microsoft.com/office/drawing/2014/main" id="{195AF023-C0E0-414E-967A-4FA6B8CCAE21}"/>
                </a:ext>
              </a:extLst>
            </p:cNvPr>
            <p:cNvSpPr>
              <a:spLocks noChangeArrowheads="1"/>
            </p:cNvSpPr>
            <p:nvPr/>
          </p:nvSpPr>
          <p:spPr bwMode="auto">
            <a:xfrm>
              <a:off x="5377" y="2836"/>
              <a:ext cx="300"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2">
              <a:extLst>
                <a:ext uri="{FF2B5EF4-FFF2-40B4-BE49-F238E27FC236}">
                  <a16:creationId xmlns:a16="http://schemas.microsoft.com/office/drawing/2014/main" id="{050A632A-9BDF-4F51-A8C8-58A6AE50599B}"/>
                </a:ext>
              </a:extLst>
            </p:cNvPr>
            <p:cNvSpPr>
              <a:spLocks noChangeArrowheads="1"/>
            </p:cNvSpPr>
            <p:nvPr/>
          </p:nvSpPr>
          <p:spPr bwMode="auto">
            <a:xfrm>
              <a:off x="5302" y="2836"/>
              <a:ext cx="49"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7EE891B0-C960-4241-B972-189CAB333BD1}"/>
                </a:ext>
              </a:extLst>
            </p:cNvPr>
            <p:cNvSpPr>
              <a:spLocks noChangeArrowheads="1"/>
            </p:cNvSpPr>
            <p:nvPr/>
          </p:nvSpPr>
          <p:spPr bwMode="auto">
            <a:xfrm>
              <a:off x="5377" y="2934"/>
              <a:ext cx="327"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4">
              <a:extLst>
                <a:ext uri="{FF2B5EF4-FFF2-40B4-BE49-F238E27FC236}">
                  <a16:creationId xmlns:a16="http://schemas.microsoft.com/office/drawing/2014/main" id="{37A025B7-6AC5-4267-A20E-5ED06FC1DAD7}"/>
                </a:ext>
              </a:extLst>
            </p:cNvPr>
            <p:cNvSpPr>
              <a:spLocks noChangeArrowheads="1"/>
            </p:cNvSpPr>
            <p:nvPr/>
          </p:nvSpPr>
          <p:spPr bwMode="auto">
            <a:xfrm>
              <a:off x="5302" y="2934"/>
              <a:ext cx="49"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5">
              <a:extLst>
                <a:ext uri="{FF2B5EF4-FFF2-40B4-BE49-F238E27FC236}">
                  <a16:creationId xmlns:a16="http://schemas.microsoft.com/office/drawing/2014/main" id="{FFE54A56-18FA-4352-98E6-D024F184FE8B}"/>
                </a:ext>
              </a:extLst>
            </p:cNvPr>
            <p:cNvSpPr>
              <a:spLocks noChangeArrowheads="1"/>
            </p:cNvSpPr>
            <p:nvPr/>
          </p:nvSpPr>
          <p:spPr bwMode="auto">
            <a:xfrm>
              <a:off x="5377" y="3028"/>
              <a:ext cx="240"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6">
              <a:extLst>
                <a:ext uri="{FF2B5EF4-FFF2-40B4-BE49-F238E27FC236}">
                  <a16:creationId xmlns:a16="http://schemas.microsoft.com/office/drawing/2014/main" id="{034B1A9D-85B7-4B16-AF6C-20A044FF2BE5}"/>
                </a:ext>
              </a:extLst>
            </p:cNvPr>
            <p:cNvSpPr>
              <a:spLocks noChangeArrowheads="1"/>
            </p:cNvSpPr>
            <p:nvPr/>
          </p:nvSpPr>
          <p:spPr bwMode="auto">
            <a:xfrm>
              <a:off x="5302" y="3028"/>
              <a:ext cx="49"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8596AC4-A6AE-4AA6-A4D8-3AF7D3CAF8A3}"/>
                </a:ext>
              </a:extLst>
            </p:cNvPr>
            <p:cNvSpPr>
              <a:spLocks noChangeArrowheads="1"/>
            </p:cNvSpPr>
            <p:nvPr/>
          </p:nvSpPr>
          <p:spPr bwMode="auto">
            <a:xfrm>
              <a:off x="5636" y="2480"/>
              <a:ext cx="60" cy="255"/>
            </a:xfrm>
            <a:prstGeom prst="rect">
              <a:avLst/>
            </a:prstGeom>
            <a:solidFill>
              <a:srgbClr val="3410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8">
              <a:extLst>
                <a:ext uri="{FF2B5EF4-FFF2-40B4-BE49-F238E27FC236}">
                  <a16:creationId xmlns:a16="http://schemas.microsoft.com/office/drawing/2014/main" id="{FE6C990C-149F-40C6-AC83-03BE096805CB}"/>
                </a:ext>
              </a:extLst>
            </p:cNvPr>
            <p:cNvSpPr>
              <a:spLocks noChangeArrowheads="1"/>
            </p:cNvSpPr>
            <p:nvPr/>
          </p:nvSpPr>
          <p:spPr bwMode="auto">
            <a:xfrm>
              <a:off x="5554" y="2667"/>
              <a:ext cx="60" cy="68"/>
            </a:xfrm>
            <a:prstGeom prst="rect">
              <a:avLst/>
            </a:prstGeom>
            <a:solidFill>
              <a:srgbClr val="4E1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9">
              <a:extLst>
                <a:ext uri="{FF2B5EF4-FFF2-40B4-BE49-F238E27FC236}">
                  <a16:creationId xmlns:a16="http://schemas.microsoft.com/office/drawing/2014/main" id="{FEC41FE9-226A-4FEC-8E75-1BB3E05BEA56}"/>
                </a:ext>
              </a:extLst>
            </p:cNvPr>
            <p:cNvSpPr>
              <a:spLocks noChangeArrowheads="1"/>
            </p:cNvSpPr>
            <p:nvPr/>
          </p:nvSpPr>
          <p:spPr bwMode="auto">
            <a:xfrm>
              <a:off x="5471" y="2559"/>
              <a:ext cx="60" cy="176"/>
            </a:xfrm>
            <a:prstGeom prst="rect">
              <a:avLst/>
            </a:prstGeom>
            <a:solidFill>
              <a:srgbClr val="B95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0">
              <a:extLst>
                <a:ext uri="{FF2B5EF4-FFF2-40B4-BE49-F238E27FC236}">
                  <a16:creationId xmlns:a16="http://schemas.microsoft.com/office/drawing/2014/main" id="{2E727F2B-AD47-421F-8DDF-1020D7195431}"/>
                </a:ext>
              </a:extLst>
            </p:cNvPr>
            <p:cNvSpPr>
              <a:spLocks noChangeArrowheads="1"/>
            </p:cNvSpPr>
            <p:nvPr/>
          </p:nvSpPr>
          <p:spPr bwMode="auto">
            <a:xfrm>
              <a:off x="5385" y="2514"/>
              <a:ext cx="56" cy="22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1">
              <a:extLst>
                <a:ext uri="{FF2B5EF4-FFF2-40B4-BE49-F238E27FC236}">
                  <a16:creationId xmlns:a16="http://schemas.microsoft.com/office/drawing/2014/main" id="{9B484649-8E10-4868-81B5-209680641B82}"/>
                </a:ext>
              </a:extLst>
            </p:cNvPr>
            <p:cNvSpPr>
              <a:spLocks noChangeArrowheads="1"/>
            </p:cNvSpPr>
            <p:nvPr/>
          </p:nvSpPr>
          <p:spPr bwMode="auto">
            <a:xfrm>
              <a:off x="5299" y="2596"/>
              <a:ext cx="60" cy="139"/>
            </a:xfrm>
            <a:prstGeom prst="rect">
              <a:avLst/>
            </a:prstGeom>
            <a:solidFill>
              <a:srgbClr val="D08F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33394E1F-0AE4-4766-A783-8AE7303938A6}"/>
                </a:ext>
              </a:extLst>
            </p:cNvPr>
            <p:cNvSpPr>
              <a:spLocks/>
            </p:cNvSpPr>
            <p:nvPr/>
          </p:nvSpPr>
          <p:spPr bwMode="auto">
            <a:xfrm>
              <a:off x="5839" y="2581"/>
              <a:ext cx="476" cy="477"/>
            </a:xfrm>
            <a:custGeom>
              <a:avLst/>
              <a:gdLst>
                <a:gd name="T0" fmla="*/ 236 w 476"/>
                <a:gd name="T1" fmla="*/ 0 h 477"/>
                <a:gd name="T2" fmla="*/ 236 w 476"/>
                <a:gd name="T3" fmla="*/ 0 h 477"/>
                <a:gd name="T4" fmla="*/ 214 w 476"/>
                <a:gd name="T5" fmla="*/ 0 h 477"/>
                <a:gd name="T6" fmla="*/ 187 w 476"/>
                <a:gd name="T7" fmla="*/ 4 h 477"/>
                <a:gd name="T8" fmla="*/ 169 w 476"/>
                <a:gd name="T9" fmla="*/ 11 h 477"/>
                <a:gd name="T10" fmla="*/ 146 w 476"/>
                <a:gd name="T11" fmla="*/ 19 h 477"/>
                <a:gd name="T12" fmla="*/ 124 w 476"/>
                <a:gd name="T13" fmla="*/ 30 h 477"/>
                <a:gd name="T14" fmla="*/ 105 w 476"/>
                <a:gd name="T15" fmla="*/ 38 h 477"/>
                <a:gd name="T16" fmla="*/ 86 w 476"/>
                <a:gd name="T17" fmla="*/ 56 h 477"/>
                <a:gd name="T18" fmla="*/ 71 w 476"/>
                <a:gd name="T19" fmla="*/ 68 h 477"/>
                <a:gd name="T20" fmla="*/ 52 w 476"/>
                <a:gd name="T21" fmla="*/ 86 h 477"/>
                <a:gd name="T22" fmla="*/ 41 w 476"/>
                <a:gd name="T23" fmla="*/ 105 h 477"/>
                <a:gd name="T24" fmla="*/ 26 w 476"/>
                <a:gd name="T25" fmla="*/ 128 h 477"/>
                <a:gd name="T26" fmla="*/ 19 w 476"/>
                <a:gd name="T27" fmla="*/ 146 h 477"/>
                <a:gd name="T28" fmla="*/ 11 w 476"/>
                <a:gd name="T29" fmla="*/ 165 h 477"/>
                <a:gd name="T30" fmla="*/ 4 w 476"/>
                <a:gd name="T31" fmla="*/ 192 h 477"/>
                <a:gd name="T32" fmla="*/ 0 w 476"/>
                <a:gd name="T33" fmla="*/ 214 h 477"/>
                <a:gd name="T34" fmla="*/ 0 w 476"/>
                <a:gd name="T35" fmla="*/ 240 h 477"/>
                <a:gd name="T36" fmla="*/ 0 w 476"/>
                <a:gd name="T37" fmla="*/ 263 h 477"/>
                <a:gd name="T38" fmla="*/ 4 w 476"/>
                <a:gd name="T39" fmla="*/ 285 h 477"/>
                <a:gd name="T40" fmla="*/ 11 w 476"/>
                <a:gd name="T41" fmla="*/ 312 h 477"/>
                <a:gd name="T42" fmla="*/ 19 w 476"/>
                <a:gd name="T43" fmla="*/ 330 h 477"/>
                <a:gd name="T44" fmla="*/ 26 w 476"/>
                <a:gd name="T45" fmla="*/ 353 h 477"/>
                <a:gd name="T46" fmla="*/ 41 w 476"/>
                <a:gd name="T47" fmla="*/ 372 h 477"/>
                <a:gd name="T48" fmla="*/ 52 w 476"/>
                <a:gd name="T49" fmla="*/ 390 h 477"/>
                <a:gd name="T50" fmla="*/ 71 w 476"/>
                <a:gd name="T51" fmla="*/ 409 h 477"/>
                <a:gd name="T52" fmla="*/ 86 w 476"/>
                <a:gd name="T53" fmla="*/ 424 h 477"/>
                <a:gd name="T54" fmla="*/ 105 w 476"/>
                <a:gd name="T55" fmla="*/ 439 h 477"/>
                <a:gd name="T56" fmla="*/ 124 w 476"/>
                <a:gd name="T57" fmla="*/ 447 h 477"/>
                <a:gd name="T58" fmla="*/ 146 w 476"/>
                <a:gd name="T59" fmla="*/ 458 h 477"/>
                <a:gd name="T60" fmla="*/ 169 w 476"/>
                <a:gd name="T61" fmla="*/ 465 h 477"/>
                <a:gd name="T62" fmla="*/ 187 w 476"/>
                <a:gd name="T63" fmla="*/ 473 h 477"/>
                <a:gd name="T64" fmla="*/ 214 w 476"/>
                <a:gd name="T65" fmla="*/ 477 h 477"/>
                <a:gd name="T66" fmla="*/ 236 w 476"/>
                <a:gd name="T67" fmla="*/ 477 h 477"/>
                <a:gd name="T68" fmla="*/ 262 w 476"/>
                <a:gd name="T69" fmla="*/ 477 h 477"/>
                <a:gd name="T70" fmla="*/ 285 w 476"/>
                <a:gd name="T71" fmla="*/ 473 h 477"/>
                <a:gd name="T72" fmla="*/ 307 w 476"/>
                <a:gd name="T73" fmla="*/ 465 h 477"/>
                <a:gd name="T74" fmla="*/ 330 w 476"/>
                <a:gd name="T75" fmla="*/ 458 h 477"/>
                <a:gd name="T76" fmla="*/ 349 w 476"/>
                <a:gd name="T77" fmla="*/ 447 h 477"/>
                <a:gd name="T78" fmla="*/ 371 w 476"/>
                <a:gd name="T79" fmla="*/ 439 h 477"/>
                <a:gd name="T80" fmla="*/ 386 w 476"/>
                <a:gd name="T81" fmla="*/ 424 h 477"/>
                <a:gd name="T82" fmla="*/ 405 w 476"/>
                <a:gd name="T83" fmla="*/ 409 h 477"/>
                <a:gd name="T84" fmla="*/ 420 w 476"/>
                <a:gd name="T85" fmla="*/ 394 h 477"/>
                <a:gd name="T86" fmla="*/ 431 w 476"/>
                <a:gd name="T87" fmla="*/ 375 h 477"/>
                <a:gd name="T88" fmla="*/ 446 w 476"/>
                <a:gd name="T89" fmla="*/ 357 h 477"/>
                <a:gd name="T90" fmla="*/ 454 w 476"/>
                <a:gd name="T91" fmla="*/ 334 h 477"/>
                <a:gd name="T92" fmla="*/ 465 w 476"/>
                <a:gd name="T93" fmla="*/ 312 h 477"/>
                <a:gd name="T94" fmla="*/ 469 w 476"/>
                <a:gd name="T95" fmla="*/ 293 h 477"/>
                <a:gd name="T96" fmla="*/ 472 w 476"/>
                <a:gd name="T97" fmla="*/ 270 h 477"/>
                <a:gd name="T98" fmla="*/ 476 w 476"/>
                <a:gd name="T99" fmla="*/ 244 h 477"/>
                <a:gd name="T100" fmla="*/ 236 w 476"/>
                <a:gd name="T101" fmla="*/ 244 h 477"/>
                <a:gd name="T102" fmla="*/ 236 w 476"/>
                <a:gd name="T103"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6" h="477">
                  <a:moveTo>
                    <a:pt x="236" y="0"/>
                  </a:moveTo>
                  <a:lnTo>
                    <a:pt x="236" y="0"/>
                  </a:lnTo>
                  <a:lnTo>
                    <a:pt x="214" y="0"/>
                  </a:lnTo>
                  <a:lnTo>
                    <a:pt x="187" y="4"/>
                  </a:lnTo>
                  <a:lnTo>
                    <a:pt x="169" y="11"/>
                  </a:lnTo>
                  <a:lnTo>
                    <a:pt x="146" y="19"/>
                  </a:lnTo>
                  <a:lnTo>
                    <a:pt x="124" y="30"/>
                  </a:lnTo>
                  <a:lnTo>
                    <a:pt x="105" y="38"/>
                  </a:lnTo>
                  <a:lnTo>
                    <a:pt x="86" y="56"/>
                  </a:lnTo>
                  <a:lnTo>
                    <a:pt x="71" y="68"/>
                  </a:lnTo>
                  <a:lnTo>
                    <a:pt x="52" y="86"/>
                  </a:lnTo>
                  <a:lnTo>
                    <a:pt x="41" y="105"/>
                  </a:lnTo>
                  <a:lnTo>
                    <a:pt x="26" y="128"/>
                  </a:lnTo>
                  <a:lnTo>
                    <a:pt x="19" y="146"/>
                  </a:lnTo>
                  <a:lnTo>
                    <a:pt x="11" y="165"/>
                  </a:lnTo>
                  <a:lnTo>
                    <a:pt x="4" y="192"/>
                  </a:lnTo>
                  <a:lnTo>
                    <a:pt x="0" y="214"/>
                  </a:lnTo>
                  <a:lnTo>
                    <a:pt x="0" y="240"/>
                  </a:lnTo>
                  <a:lnTo>
                    <a:pt x="0" y="263"/>
                  </a:lnTo>
                  <a:lnTo>
                    <a:pt x="4" y="285"/>
                  </a:lnTo>
                  <a:lnTo>
                    <a:pt x="11" y="312"/>
                  </a:lnTo>
                  <a:lnTo>
                    <a:pt x="19" y="330"/>
                  </a:lnTo>
                  <a:lnTo>
                    <a:pt x="26" y="353"/>
                  </a:lnTo>
                  <a:lnTo>
                    <a:pt x="41" y="372"/>
                  </a:lnTo>
                  <a:lnTo>
                    <a:pt x="52" y="390"/>
                  </a:lnTo>
                  <a:lnTo>
                    <a:pt x="71" y="409"/>
                  </a:lnTo>
                  <a:lnTo>
                    <a:pt x="86" y="424"/>
                  </a:lnTo>
                  <a:lnTo>
                    <a:pt x="105" y="439"/>
                  </a:lnTo>
                  <a:lnTo>
                    <a:pt x="124" y="447"/>
                  </a:lnTo>
                  <a:lnTo>
                    <a:pt x="146" y="458"/>
                  </a:lnTo>
                  <a:lnTo>
                    <a:pt x="169" y="465"/>
                  </a:lnTo>
                  <a:lnTo>
                    <a:pt x="187" y="473"/>
                  </a:lnTo>
                  <a:lnTo>
                    <a:pt x="214" y="477"/>
                  </a:lnTo>
                  <a:lnTo>
                    <a:pt x="236" y="477"/>
                  </a:lnTo>
                  <a:lnTo>
                    <a:pt x="262" y="477"/>
                  </a:lnTo>
                  <a:lnTo>
                    <a:pt x="285" y="473"/>
                  </a:lnTo>
                  <a:lnTo>
                    <a:pt x="307" y="465"/>
                  </a:lnTo>
                  <a:lnTo>
                    <a:pt x="330" y="458"/>
                  </a:lnTo>
                  <a:lnTo>
                    <a:pt x="349" y="447"/>
                  </a:lnTo>
                  <a:lnTo>
                    <a:pt x="371" y="439"/>
                  </a:lnTo>
                  <a:lnTo>
                    <a:pt x="386" y="424"/>
                  </a:lnTo>
                  <a:lnTo>
                    <a:pt x="405" y="409"/>
                  </a:lnTo>
                  <a:lnTo>
                    <a:pt x="420" y="394"/>
                  </a:lnTo>
                  <a:lnTo>
                    <a:pt x="431" y="375"/>
                  </a:lnTo>
                  <a:lnTo>
                    <a:pt x="446" y="357"/>
                  </a:lnTo>
                  <a:lnTo>
                    <a:pt x="454" y="334"/>
                  </a:lnTo>
                  <a:lnTo>
                    <a:pt x="465" y="312"/>
                  </a:lnTo>
                  <a:lnTo>
                    <a:pt x="469" y="293"/>
                  </a:lnTo>
                  <a:lnTo>
                    <a:pt x="472" y="270"/>
                  </a:lnTo>
                  <a:lnTo>
                    <a:pt x="476" y="244"/>
                  </a:lnTo>
                  <a:lnTo>
                    <a:pt x="236" y="244"/>
                  </a:lnTo>
                  <a:lnTo>
                    <a:pt x="23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49A1F43A-7858-436B-9FF2-D09905A01EB8}"/>
                </a:ext>
              </a:extLst>
            </p:cNvPr>
            <p:cNvSpPr>
              <a:spLocks noChangeArrowheads="1"/>
            </p:cNvSpPr>
            <p:nvPr/>
          </p:nvSpPr>
          <p:spPr bwMode="auto">
            <a:xfrm>
              <a:off x="6353" y="2214"/>
              <a:ext cx="45" cy="4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7576A85-19E3-4452-89A7-EED885C6AEDB}"/>
                </a:ext>
              </a:extLst>
            </p:cNvPr>
            <p:cNvSpPr>
              <a:spLocks noEditPoints="1"/>
            </p:cNvSpPr>
            <p:nvPr/>
          </p:nvSpPr>
          <p:spPr bwMode="auto">
            <a:xfrm>
              <a:off x="5133" y="2153"/>
              <a:ext cx="1426" cy="143"/>
            </a:xfrm>
            <a:custGeom>
              <a:avLst/>
              <a:gdLst>
                <a:gd name="T0" fmla="*/ 0 w 1426"/>
                <a:gd name="T1" fmla="*/ 0 h 143"/>
                <a:gd name="T2" fmla="*/ 0 w 1426"/>
                <a:gd name="T3" fmla="*/ 143 h 143"/>
                <a:gd name="T4" fmla="*/ 1426 w 1426"/>
                <a:gd name="T5" fmla="*/ 143 h 143"/>
                <a:gd name="T6" fmla="*/ 1426 w 1426"/>
                <a:gd name="T7" fmla="*/ 0 h 143"/>
                <a:gd name="T8" fmla="*/ 0 w 1426"/>
                <a:gd name="T9" fmla="*/ 0 h 143"/>
                <a:gd name="T10" fmla="*/ 1163 w 1426"/>
                <a:gd name="T11" fmla="*/ 121 h 143"/>
                <a:gd name="T12" fmla="*/ 1077 w 1426"/>
                <a:gd name="T13" fmla="*/ 121 h 143"/>
                <a:gd name="T14" fmla="*/ 1077 w 1426"/>
                <a:gd name="T15" fmla="*/ 98 h 143"/>
                <a:gd name="T16" fmla="*/ 1163 w 1426"/>
                <a:gd name="T17" fmla="*/ 98 h 143"/>
                <a:gd name="T18" fmla="*/ 1163 w 1426"/>
                <a:gd name="T19" fmla="*/ 121 h 143"/>
                <a:gd name="T20" fmla="*/ 1280 w 1426"/>
                <a:gd name="T21" fmla="*/ 121 h 143"/>
                <a:gd name="T22" fmla="*/ 1205 w 1426"/>
                <a:gd name="T23" fmla="*/ 121 h 143"/>
                <a:gd name="T24" fmla="*/ 1205 w 1426"/>
                <a:gd name="T25" fmla="*/ 42 h 143"/>
                <a:gd name="T26" fmla="*/ 1280 w 1426"/>
                <a:gd name="T27" fmla="*/ 42 h 143"/>
                <a:gd name="T28" fmla="*/ 1280 w 1426"/>
                <a:gd name="T29" fmla="*/ 121 h 143"/>
                <a:gd name="T30" fmla="*/ 1396 w 1426"/>
                <a:gd name="T31" fmla="*/ 106 h 143"/>
                <a:gd name="T32" fmla="*/ 1381 w 1426"/>
                <a:gd name="T33" fmla="*/ 121 h 143"/>
                <a:gd name="T34" fmla="*/ 1359 w 1426"/>
                <a:gd name="T35" fmla="*/ 102 h 143"/>
                <a:gd name="T36" fmla="*/ 1336 w 1426"/>
                <a:gd name="T37" fmla="*/ 121 h 143"/>
                <a:gd name="T38" fmla="*/ 1321 w 1426"/>
                <a:gd name="T39" fmla="*/ 106 h 143"/>
                <a:gd name="T40" fmla="*/ 1340 w 1426"/>
                <a:gd name="T41" fmla="*/ 83 h 143"/>
                <a:gd name="T42" fmla="*/ 1321 w 1426"/>
                <a:gd name="T43" fmla="*/ 61 h 143"/>
                <a:gd name="T44" fmla="*/ 1336 w 1426"/>
                <a:gd name="T45" fmla="*/ 42 h 143"/>
                <a:gd name="T46" fmla="*/ 1359 w 1426"/>
                <a:gd name="T47" fmla="*/ 64 h 143"/>
                <a:gd name="T48" fmla="*/ 1381 w 1426"/>
                <a:gd name="T49" fmla="*/ 42 h 143"/>
                <a:gd name="T50" fmla="*/ 1396 w 1426"/>
                <a:gd name="T51" fmla="*/ 61 h 143"/>
                <a:gd name="T52" fmla="*/ 1374 w 1426"/>
                <a:gd name="T53" fmla="*/ 83 h 143"/>
                <a:gd name="T54" fmla="*/ 1396 w 1426"/>
                <a:gd name="T55" fmla="*/ 10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6" h="143">
                  <a:moveTo>
                    <a:pt x="0" y="0"/>
                  </a:moveTo>
                  <a:lnTo>
                    <a:pt x="0" y="143"/>
                  </a:lnTo>
                  <a:lnTo>
                    <a:pt x="1426" y="143"/>
                  </a:lnTo>
                  <a:lnTo>
                    <a:pt x="1426" y="0"/>
                  </a:lnTo>
                  <a:lnTo>
                    <a:pt x="0" y="0"/>
                  </a:lnTo>
                  <a:close/>
                  <a:moveTo>
                    <a:pt x="1163" y="121"/>
                  </a:moveTo>
                  <a:lnTo>
                    <a:pt x="1077" y="121"/>
                  </a:lnTo>
                  <a:lnTo>
                    <a:pt x="1077" y="98"/>
                  </a:lnTo>
                  <a:lnTo>
                    <a:pt x="1163" y="98"/>
                  </a:lnTo>
                  <a:lnTo>
                    <a:pt x="1163" y="121"/>
                  </a:lnTo>
                  <a:close/>
                  <a:moveTo>
                    <a:pt x="1280" y="121"/>
                  </a:moveTo>
                  <a:lnTo>
                    <a:pt x="1205" y="121"/>
                  </a:lnTo>
                  <a:lnTo>
                    <a:pt x="1205" y="42"/>
                  </a:lnTo>
                  <a:lnTo>
                    <a:pt x="1280" y="42"/>
                  </a:lnTo>
                  <a:lnTo>
                    <a:pt x="1280" y="121"/>
                  </a:lnTo>
                  <a:close/>
                  <a:moveTo>
                    <a:pt x="1396" y="106"/>
                  </a:moveTo>
                  <a:lnTo>
                    <a:pt x="1381" y="121"/>
                  </a:lnTo>
                  <a:lnTo>
                    <a:pt x="1359" y="102"/>
                  </a:lnTo>
                  <a:lnTo>
                    <a:pt x="1336" y="121"/>
                  </a:lnTo>
                  <a:lnTo>
                    <a:pt x="1321" y="106"/>
                  </a:lnTo>
                  <a:lnTo>
                    <a:pt x="1340" y="83"/>
                  </a:lnTo>
                  <a:lnTo>
                    <a:pt x="1321" y="61"/>
                  </a:lnTo>
                  <a:lnTo>
                    <a:pt x="1336" y="42"/>
                  </a:lnTo>
                  <a:lnTo>
                    <a:pt x="1359" y="64"/>
                  </a:lnTo>
                  <a:lnTo>
                    <a:pt x="1381" y="42"/>
                  </a:lnTo>
                  <a:lnTo>
                    <a:pt x="1396" y="61"/>
                  </a:lnTo>
                  <a:lnTo>
                    <a:pt x="1374" y="83"/>
                  </a:lnTo>
                  <a:lnTo>
                    <a:pt x="1396" y="106"/>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75618304-7E90-456F-86CD-B16998BB6825}"/>
                </a:ext>
              </a:extLst>
            </p:cNvPr>
            <p:cNvSpPr>
              <a:spLocks noEditPoints="1"/>
            </p:cNvSpPr>
            <p:nvPr/>
          </p:nvSpPr>
          <p:spPr bwMode="auto">
            <a:xfrm>
              <a:off x="5130" y="2326"/>
              <a:ext cx="1422" cy="908"/>
            </a:xfrm>
            <a:custGeom>
              <a:avLst/>
              <a:gdLst>
                <a:gd name="T0" fmla="*/ 0 w 1422"/>
                <a:gd name="T1" fmla="*/ 0 h 908"/>
                <a:gd name="T2" fmla="*/ 0 w 1422"/>
                <a:gd name="T3" fmla="*/ 908 h 908"/>
                <a:gd name="T4" fmla="*/ 1422 w 1422"/>
                <a:gd name="T5" fmla="*/ 908 h 908"/>
                <a:gd name="T6" fmla="*/ 1422 w 1422"/>
                <a:gd name="T7" fmla="*/ 0 h 908"/>
                <a:gd name="T8" fmla="*/ 0 w 1422"/>
                <a:gd name="T9" fmla="*/ 0 h 908"/>
                <a:gd name="T10" fmla="*/ 1354 w 1422"/>
                <a:gd name="T11" fmla="*/ 840 h 908"/>
                <a:gd name="T12" fmla="*/ 71 w 1422"/>
                <a:gd name="T13" fmla="*/ 840 h 908"/>
                <a:gd name="T14" fmla="*/ 71 w 1422"/>
                <a:gd name="T15" fmla="*/ 71 h 908"/>
                <a:gd name="T16" fmla="*/ 1354 w 1422"/>
                <a:gd name="T17" fmla="*/ 71 h 908"/>
                <a:gd name="T18" fmla="*/ 1354 w 1422"/>
                <a:gd name="T19" fmla="*/ 84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2" h="908">
                  <a:moveTo>
                    <a:pt x="0" y="0"/>
                  </a:moveTo>
                  <a:lnTo>
                    <a:pt x="0" y="908"/>
                  </a:lnTo>
                  <a:lnTo>
                    <a:pt x="1422" y="908"/>
                  </a:lnTo>
                  <a:lnTo>
                    <a:pt x="1422" y="0"/>
                  </a:lnTo>
                  <a:lnTo>
                    <a:pt x="0" y="0"/>
                  </a:lnTo>
                  <a:close/>
                  <a:moveTo>
                    <a:pt x="1354" y="840"/>
                  </a:moveTo>
                  <a:lnTo>
                    <a:pt x="71" y="840"/>
                  </a:lnTo>
                  <a:lnTo>
                    <a:pt x="71" y="71"/>
                  </a:lnTo>
                  <a:lnTo>
                    <a:pt x="1354" y="71"/>
                  </a:lnTo>
                  <a:lnTo>
                    <a:pt x="1354" y="84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6">
              <a:extLst>
                <a:ext uri="{FF2B5EF4-FFF2-40B4-BE49-F238E27FC236}">
                  <a16:creationId xmlns:a16="http://schemas.microsoft.com/office/drawing/2014/main" id="{AA2F120D-4B87-4D30-9C9D-2DEE29B9D500}"/>
                </a:ext>
              </a:extLst>
            </p:cNvPr>
            <p:cNvSpPr>
              <a:spLocks noChangeArrowheads="1"/>
            </p:cNvSpPr>
            <p:nvPr/>
          </p:nvSpPr>
          <p:spPr bwMode="auto">
            <a:xfrm>
              <a:off x="5527" y="679"/>
              <a:ext cx="135" cy="1309"/>
            </a:xfrm>
            <a:prstGeom prst="rect">
              <a:avLst/>
            </a:prstGeom>
            <a:solidFill>
              <a:srgbClr val="3410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7">
              <a:extLst>
                <a:ext uri="{FF2B5EF4-FFF2-40B4-BE49-F238E27FC236}">
                  <a16:creationId xmlns:a16="http://schemas.microsoft.com/office/drawing/2014/main" id="{702927A7-2B77-4B1E-A2E6-76EFCDC36E91}"/>
                </a:ext>
              </a:extLst>
            </p:cNvPr>
            <p:cNvSpPr>
              <a:spLocks noChangeArrowheads="1"/>
            </p:cNvSpPr>
            <p:nvPr/>
          </p:nvSpPr>
          <p:spPr bwMode="auto">
            <a:xfrm>
              <a:off x="5527" y="679"/>
              <a:ext cx="135" cy="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8">
              <a:extLst>
                <a:ext uri="{FF2B5EF4-FFF2-40B4-BE49-F238E27FC236}">
                  <a16:creationId xmlns:a16="http://schemas.microsoft.com/office/drawing/2014/main" id="{EA7A69B3-705F-4641-BAF4-1D77A2ADA394}"/>
                </a:ext>
              </a:extLst>
            </p:cNvPr>
            <p:cNvSpPr>
              <a:spLocks noChangeArrowheads="1"/>
            </p:cNvSpPr>
            <p:nvPr/>
          </p:nvSpPr>
          <p:spPr bwMode="auto">
            <a:xfrm>
              <a:off x="5336" y="1654"/>
              <a:ext cx="135" cy="334"/>
            </a:xfrm>
            <a:prstGeom prst="rect">
              <a:avLst/>
            </a:prstGeom>
            <a:solidFill>
              <a:srgbClr val="4E1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9">
              <a:extLst>
                <a:ext uri="{FF2B5EF4-FFF2-40B4-BE49-F238E27FC236}">
                  <a16:creationId xmlns:a16="http://schemas.microsoft.com/office/drawing/2014/main" id="{3233DBB9-41E0-4F57-81EF-0F876DF0C3C8}"/>
                </a:ext>
              </a:extLst>
            </p:cNvPr>
            <p:cNvSpPr>
              <a:spLocks noChangeArrowheads="1"/>
            </p:cNvSpPr>
            <p:nvPr/>
          </p:nvSpPr>
          <p:spPr bwMode="auto">
            <a:xfrm>
              <a:off x="5336" y="1654"/>
              <a:ext cx="135" cy="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0">
              <a:extLst>
                <a:ext uri="{FF2B5EF4-FFF2-40B4-BE49-F238E27FC236}">
                  <a16:creationId xmlns:a16="http://schemas.microsoft.com/office/drawing/2014/main" id="{8DE603F8-6401-4EDA-B0D6-0FD494A764C2}"/>
                </a:ext>
              </a:extLst>
            </p:cNvPr>
            <p:cNvSpPr>
              <a:spLocks noChangeArrowheads="1"/>
            </p:cNvSpPr>
            <p:nvPr/>
          </p:nvSpPr>
          <p:spPr bwMode="auto">
            <a:xfrm>
              <a:off x="5141" y="1084"/>
              <a:ext cx="135" cy="904"/>
            </a:xfrm>
            <a:prstGeom prst="rect">
              <a:avLst/>
            </a:prstGeom>
            <a:solidFill>
              <a:srgbClr val="B95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1">
              <a:extLst>
                <a:ext uri="{FF2B5EF4-FFF2-40B4-BE49-F238E27FC236}">
                  <a16:creationId xmlns:a16="http://schemas.microsoft.com/office/drawing/2014/main" id="{8D5DB453-34A6-4FCF-9DAB-6480B2BF176E}"/>
                </a:ext>
              </a:extLst>
            </p:cNvPr>
            <p:cNvSpPr>
              <a:spLocks noChangeArrowheads="1"/>
            </p:cNvSpPr>
            <p:nvPr/>
          </p:nvSpPr>
          <p:spPr bwMode="auto">
            <a:xfrm>
              <a:off x="5141" y="1084"/>
              <a:ext cx="135" cy="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E155BAB4-1281-434B-80E0-82968FCB49D5}"/>
                </a:ext>
              </a:extLst>
            </p:cNvPr>
            <p:cNvSpPr>
              <a:spLocks noChangeArrowheads="1"/>
            </p:cNvSpPr>
            <p:nvPr/>
          </p:nvSpPr>
          <p:spPr bwMode="auto">
            <a:xfrm>
              <a:off x="4942" y="848"/>
              <a:ext cx="139" cy="114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3">
              <a:extLst>
                <a:ext uri="{FF2B5EF4-FFF2-40B4-BE49-F238E27FC236}">
                  <a16:creationId xmlns:a16="http://schemas.microsoft.com/office/drawing/2014/main" id="{79B10380-71C1-403E-A75B-D4B4CD110832}"/>
                </a:ext>
              </a:extLst>
            </p:cNvPr>
            <p:cNvSpPr>
              <a:spLocks noChangeArrowheads="1"/>
            </p:cNvSpPr>
            <p:nvPr/>
          </p:nvSpPr>
          <p:spPr bwMode="auto">
            <a:xfrm>
              <a:off x="4942" y="848"/>
              <a:ext cx="139" cy="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4">
              <a:extLst>
                <a:ext uri="{FF2B5EF4-FFF2-40B4-BE49-F238E27FC236}">
                  <a16:creationId xmlns:a16="http://schemas.microsoft.com/office/drawing/2014/main" id="{69CD742F-1FE1-4175-BD3D-1AD0BFC9D47B}"/>
                </a:ext>
              </a:extLst>
            </p:cNvPr>
            <p:cNvSpPr>
              <a:spLocks noChangeArrowheads="1"/>
            </p:cNvSpPr>
            <p:nvPr/>
          </p:nvSpPr>
          <p:spPr bwMode="auto">
            <a:xfrm>
              <a:off x="4751" y="1279"/>
              <a:ext cx="135" cy="709"/>
            </a:xfrm>
            <a:prstGeom prst="rect">
              <a:avLst/>
            </a:prstGeom>
            <a:solidFill>
              <a:srgbClr val="D08F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5">
              <a:extLst>
                <a:ext uri="{FF2B5EF4-FFF2-40B4-BE49-F238E27FC236}">
                  <a16:creationId xmlns:a16="http://schemas.microsoft.com/office/drawing/2014/main" id="{2DDD89DE-456D-4B71-85BE-D75348BCD406}"/>
                </a:ext>
              </a:extLst>
            </p:cNvPr>
            <p:cNvSpPr>
              <a:spLocks noChangeArrowheads="1"/>
            </p:cNvSpPr>
            <p:nvPr/>
          </p:nvSpPr>
          <p:spPr bwMode="auto">
            <a:xfrm>
              <a:off x="5963" y="555"/>
              <a:ext cx="457"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6">
              <a:extLst>
                <a:ext uri="{FF2B5EF4-FFF2-40B4-BE49-F238E27FC236}">
                  <a16:creationId xmlns:a16="http://schemas.microsoft.com/office/drawing/2014/main" id="{913477B1-A855-4F4F-BCFA-5A6E2A8654BE}"/>
                </a:ext>
              </a:extLst>
            </p:cNvPr>
            <p:cNvSpPr>
              <a:spLocks noChangeArrowheads="1"/>
            </p:cNvSpPr>
            <p:nvPr/>
          </p:nvSpPr>
          <p:spPr bwMode="auto">
            <a:xfrm>
              <a:off x="5846" y="555"/>
              <a:ext cx="75"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7">
              <a:extLst>
                <a:ext uri="{FF2B5EF4-FFF2-40B4-BE49-F238E27FC236}">
                  <a16:creationId xmlns:a16="http://schemas.microsoft.com/office/drawing/2014/main" id="{A50319B5-4E1F-4823-8877-C122434079F6}"/>
                </a:ext>
              </a:extLst>
            </p:cNvPr>
            <p:cNvSpPr>
              <a:spLocks noChangeArrowheads="1"/>
            </p:cNvSpPr>
            <p:nvPr/>
          </p:nvSpPr>
          <p:spPr bwMode="auto">
            <a:xfrm>
              <a:off x="5963" y="705"/>
              <a:ext cx="495"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8">
              <a:extLst>
                <a:ext uri="{FF2B5EF4-FFF2-40B4-BE49-F238E27FC236}">
                  <a16:creationId xmlns:a16="http://schemas.microsoft.com/office/drawing/2014/main" id="{E4CBA970-483C-4FDD-A3E5-43E347AEEA3F}"/>
                </a:ext>
              </a:extLst>
            </p:cNvPr>
            <p:cNvSpPr>
              <a:spLocks noChangeArrowheads="1"/>
            </p:cNvSpPr>
            <p:nvPr/>
          </p:nvSpPr>
          <p:spPr bwMode="auto">
            <a:xfrm>
              <a:off x="5846" y="705"/>
              <a:ext cx="75"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9">
              <a:extLst>
                <a:ext uri="{FF2B5EF4-FFF2-40B4-BE49-F238E27FC236}">
                  <a16:creationId xmlns:a16="http://schemas.microsoft.com/office/drawing/2014/main" id="{ECD6275E-6D81-4112-8A3C-45D5EFA3386A}"/>
                </a:ext>
              </a:extLst>
            </p:cNvPr>
            <p:cNvSpPr>
              <a:spLocks noChangeArrowheads="1"/>
            </p:cNvSpPr>
            <p:nvPr/>
          </p:nvSpPr>
          <p:spPr bwMode="auto">
            <a:xfrm>
              <a:off x="5963" y="844"/>
              <a:ext cx="363"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
              <a:extLst>
                <a:ext uri="{FF2B5EF4-FFF2-40B4-BE49-F238E27FC236}">
                  <a16:creationId xmlns:a16="http://schemas.microsoft.com/office/drawing/2014/main" id="{C5ACBD1D-260B-43A5-BF1F-9E30B4729A5D}"/>
                </a:ext>
              </a:extLst>
            </p:cNvPr>
            <p:cNvSpPr>
              <a:spLocks noChangeArrowheads="1"/>
            </p:cNvSpPr>
            <p:nvPr/>
          </p:nvSpPr>
          <p:spPr bwMode="auto">
            <a:xfrm>
              <a:off x="5846" y="844"/>
              <a:ext cx="75"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1">
              <a:extLst>
                <a:ext uri="{FF2B5EF4-FFF2-40B4-BE49-F238E27FC236}">
                  <a16:creationId xmlns:a16="http://schemas.microsoft.com/office/drawing/2014/main" id="{7C4534E4-85D8-4BC9-8DDE-A6B90780EC7A}"/>
                </a:ext>
              </a:extLst>
            </p:cNvPr>
            <p:cNvSpPr>
              <a:spLocks noChangeArrowheads="1"/>
            </p:cNvSpPr>
            <p:nvPr/>
          </p:nvSpPr>
          <p:spPr bwMode="auto">
            <a:xfrm>
              <a:off x="5963" y="1069"/>
              <a:ext cx="457"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00171F1B-C7DC-45CD-B154-2C3E62FEE427}"/>
                </a:ext>
              </a:extLst>
            </p:cNvPr>
            <p:cNvSpPr>
              <a:spLocks noChangeArrowheads="1"/>
            </p:cNvSpPr>
            <p:nvPr/>
          </p:nvSpPr>
          <p:spPr bwMode="auto">
            <a:xfrm>
              <a:off x="5963" y="1069"/>
              <a:ext cx="45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3">
              <a:extLst>
                <a:ext uri="{FF2B5EF4-FFF2-40B4-BE49-F238E27FC236}">
                  <a16:creationId xmlns:a16="http://schemas.microsoft.com/office/drawing/2014/main" id="{7CF55E55-BC41-4A41-ABC7-4243BD73ACDD}"/>
                </a:ext>
              </a:extLst>
            </p:cNvPr>
            <p:cNvSpPr>
              <a:spLocks noChangeArrowheads="1"/>
            </p:cNvSpPr>
            <p:nvPr/>
          </p:nvSpPr>
          <p:spPr bwMode="auto">
            <a:xfrm>
              <a:off x="5846" y="1069"/>
              <a:ext cx="75"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4">
              <a:extLst>
                <a:ext uri="{FF2B5EF4-FFF2-40B4-BE49-F238E27FC236}">
                  <a16:creationId xmlns:a16="http://schemas.microsoft.com/office/drawing/2014/main" id="{CB7DE2DA-2C3E-4291-BEF9-A6120975A80F}"/>
                </a:ext>
              </a:extLst>
            </p:cNvPr>
            <p:cNvSpPr>
              <a:spLocks noChangeArrowheads="1"/>
            </p:cNvSpPr>
            <p:nvPr/>
          </p:nvSpPr>
          <p:spPr bwMode="auto">
            <a:xfrm>
              <a:off x="5963" y="1216"/>
              <a:ext cx="495"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5">
              <a:extLst>
                <a:ext uri="{FF2B5EF4-FFF2-40B4-BE49-F238E27FC236}">
                  <a16:creationId xmlns:a16="http://schemas.microsoft.com/office/drawing/2014/main" id="{5812AEEF-2BA6-4392-A980-DAE448EFA7C5}"/>
                </a:ext>
              </a:extLst>
            </p:cNvPr>
            <p:cNvSpPr>
              <a:spLocks noChangeArrowheads="1"/>
            </p:cNvSpPr>
            <p:nvPr/>
          </p:nvSpPr>
          <p:spPr bwMode="auto">
            <a:xfrm>
              <a:off x="5963" y="1216"/>
              <a:ext cx="495"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6">
              <a:extLst>
                <a:ext uri="{FF2B5EF4-FFF2-40B4-BE49-F238E27FC236}">
                  <a16:creationId xmlns:a16="http://schemas.microsoft.com/office/drawing/2014/main" id="{136E0BED-B226-4EDD-987B-39CFF5496BD9}"/>
                </a:ext>
              </a:extLst>
            </p:cNvPr>
            <p:cNvSpPr>
              <a:spLocks noChangeArrowheads="1"/>
            </p:cNvSpPr>
            <p:nvPr/>
          </p:nvSpPr>
          <p:spPr bwMode="auto">
            <a:xfrm>
              <a:off x="5846" y="1216"/>
              <a:ext cx="75"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7">
              <a:extLst>
                <a:ext uri="{FF2B5EF4-FFF2-40B4-BE49-F238E27FC236}">
                  <a16:creationId xmlns:a16="http://schemas.microsoft.com/office/drawing/2014/main" id="{66310712-DFF8-4592-AD40-A8611A09F8DB}"/>
                </a:ext>
              </a:extLst>
            </p:cNvPr>
            <p:cNvSpPr>
              <a:spLocks noChangeArrowheads="1"/>
            </p:cNvSpPr>
            <p:nvPr/>
          </p:nvSpPr>
          <p:spPr bwMode="auto">
            <a:xfrm>
              <a:off x="5963" y="1354"/>
              <a:ext cx="363"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8">
              <a:extLst>
                <a:ext uri="{FF2B5EF4-FFF2-40B4-BE49-F238E27FC236}">
                  <a16:creationId xmlns:a16="http://schemas.microsoft.com/office/drawing/2014/main" id="{DB223D07-736E-44F2-94BD-5B82E813F25C}"/>
                </a:ext>
              </a:extLst>
            </p:cNvPr>
            <p:cNvSpPr>
              <a:spLocks noChangeArrowheads="1"/>
            </p:cNvSpPr>
            <p:nvPr/>
          </p:nvSpPr>
          <p:spPr bwMode="auto">
            <a:xfrm>
              <a:off x="5963" y="1354"/>
              <a:ext cx="363" cy="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9">
              <a:extLst>
                <a:ext uri="{FF2B5EF4-FFF2-40B4-BE49-F238E27FC236}">
                  <a16:creationId xmlns:a16="http://schemas.microsoft.com/office/drawing/2014/main" id="{3DFDA691-2C6E-47D2-95E2-F6ED8736889E}"/>
                </a:ext>
              </a:extLst>
            </p:cNvPr>
            <p:cNvSpPr>
              <a:spLocks noChangeArrowheads="1"/>
            </p:cNvSpPr>
            <p:nvPr/>
          </p:nvSpPr>
          <p:spPr bwMode="auto">
            <a:xfrm>
              <a:off x="5846" y="1354"/>
              <a:ext cx="75"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DCF8CA61-4808-4FDD-AA95-466060F8E133}"/>
                </a:ext>
              </a:extLst>
            </p:cNvPr>
            <p:cNvSpPr>
              <a:spLocks noEditPoints="1"/>
            </p:cNvSpPr>
            <p:nvPr/>
          </p:nvSpPr>
          <p:spPr bwMode="auto">
            <a:xfrm>
              <a:off x="5081" y="1137"/>
              <a:ext cx="675" cy="574"/>
            </a:xfrm>
            <a:custGeom>
              <a:avLst/>
              <a:gdLst>
                <a:gd name="T0" fmla="*/ 155 w 180"/>
                <a:gd name="T1" fmla="*/ 28 h 153"/>
                <a:gd name="T2" fmla="*/ 155 w 180"/>
                <a:gd name="T3" fmla="*/ 126 h 153"/>
                <a:gd name="T4" fmla="*/ 180 w 180"/>
                <a:gd name="T5" fmla="*/ 77 h 153"/>
                <a:gd name="T6" fmla="*/ 155 w 180"/>
                <a:gd name="T7" fmla="*/ 28 h 153"/>
                <a:gd name="T8" fmla="*/ 16 w 180"/>
                <a:gd name="T9" fmla="*/ 13 h 153"/>
                <a:gd name="T10" fmla="*/ 0 w 180"/>
                <a:gd name="T11" fmla="*/ 23 h 153"/>
                <a:gd name="T12" fmla="*/ 0 w 180"/>
                <a:gd name="T13" fmla="*/ 131 h 153"/>
                <a:gd name="T14" fmla="*/ 16 w 180"/>
                <a:gd name="T15" fmla="*/ 141 h 153"/>
                <a:gd name="T16" fmla="*/ 16 w 180"/>
                <a:gd name="T17" fmla="*/ 13 h 153"/>
                <a:gd name="T18" fmla="*/ 74 w 180"/>
                <a:gd name="T19" fmla="*/ 0 h 153"/>
                <a:gd name="T20" fmla="*/ 52 w 180"/>
                <a:gd name="T21" fmla="*/ 2 h 153"/>
                <a:gd name="T22" fmla="*/ 52 w 180"/>
                <a:gd name="T23" fmla="*/ 152 h 153"/>
                <a:gd name="T24" fmla="*/ 68 w 180"/>
                <a:gd name="T25" fmla="*/ 153 h 153"/>
                <a:gd name="T26" fmla="*/ 68 w 180"/>
                <a:gd name="T27" fmla="*/ 138 h 153"/>
                <a:gd name="T28" fmla="*/ 104 w 180"/>
                <a:gd name="T29" fmla="*/ 138 h 153"/>
                <a:gd name="T30" fmla="*/ 104 w 180"/>
                <a:gd name="T31" fmla="*/ 150 h 153"/>
                <a:gd name="T32" fmla="*/ 119 w 180"/>
                <a:gd name="T33" fmla="*/ 146 h 153"/>
                <a:gd name="T34" fmla="*/ 119 w 180"/>
                <a:gd name="T35" fmla="*/ 7 h 153"/>
                <a:gd name="T36" fmla="*/ 74 w 180"/>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53">
                  <a:moveTo>
                    <a:pt x="155" y="28"/>
                  </a:moveTo>
                  <a:cubicBezTo>
                    <a:pt x="155" y="126"/>
                    <a:pt x="155" y="126"/>
                    <a:pt x="155" y="126"/>
                  </a:cubicBezTo>
                  <a:cubicBezTo>
                    <a:pt x="171" y="113"/>
                    <a:pt x="180" y="96"/>
                    <a:pt x="180" y="77"/>
                  </a:cubicBezTo>
                  <a:cubicBezTo>
                    <a:pt x="180" y="58"/>
                    <a:pt x="171" y="41"/>
                    <a:pt x="155" y="28"/>
                  </a:cubicBezTo>
                  <a:moveTo>
                    <a:pt x="16" y="13"/>
                  </a:moveTo>
                  <a:cubicBezTo>
                    <a:pt x="10" y="16"/>
                    <a:pt x="5" y="19"/>
                    <a:pt x="0" y="23"/>
                  </a:cubicBezTo>
                  <a:cubicBezTo>
                    <a:pt x="0" y="131"/>
                    <a:pt x="0" y="131"/>
                    <a:pt x="0" y="131"/>
                  </a:cubicBezTo>
                  <a:cubicBezTo>
                    <a:pt x="5" y="134"/>
                    <a:pt x="10" y="138"/>
                    <a:pt x="16" y="141"/>
                  </a:cubicBezTo>
                  <a:cubicBezTo>
                    <a:pt x="16" y="13"/>
                    <a:pt x="16" y="13"/>
                    <a:pt x="16" y="13"/>
                  </a:cubicBezTo>
                  <a:moveTo>
                    <a:pt x="74" y="0"/>
                  </a:moveTo>
                  <a:cubicBezTo>
                    <a:pt x="67" y="0"/>
                    <a:pt x="60" y="1"/>
                    <a:pt x="52" y="2"/>
                  </a:cubicBezTo>
                  <a:cubicBezTo>
                    <a:pt x="52" y="152"/>
                    <a:pt x="52" y="152"/>
                    <a:pt x="52" y="152"/>
                  </a:cubicBezTo>
                  <a:cubicBezTo>
                    <a:pt x="57" y="152"/>
                    <a:pt x="62" y="153"/>
                    <a:pt x="68" y="153"/>
                  </a:cubicBezTo>
                  <a:cubicBezTo>
                    <a:pt x="68" y="138"/>
                    <a:pt x="68" y="138"/>
                    <a:pt x="68" y="138"/>
                  </a:cubicBezTo>
                  <a:cubicBezTo>
                    <a:pt x="104" y="138"/>
                    <a:pt x="104" y="138"/>
                    <a:pt x="104" y="138"/>
                  </a:cubicBezTo>
                  <a:cubicBezTo>
                    <a:pt x="104" y="150"/>
                    <a:pt x="104" y="150"/>
                    <a:pt x="104" y="150"/>
                  </a:cubicBezTo>
                  <a:cubicBezTo>
                    <a:pt x="109" y="149"/>
                    <a:pt x="114" y="148"/>
                    <a:pt x="119" y="146"/>
                  </a:cubicBezTo>
                  <a:cubicBezTo>
                    <a:pt x="119" y="7"/>
                    <a:pt x="119" y="7"/>
                    <a:pt x="119" y="7"/>
                  </a:cubicBezTo>
                  <a:cubicBezTo>
                    <a:pt x="105" y="3"/>
                    <a:pt x="90" y="0"/>
                    <a:pt x="74" y="0"/>
                  </a:cubicBezTo>
                </a:path>
              </a:pathLst>
            </a:custGeom>
            <a:solidFill>
              <a:srgbClr val="D8F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48C5CF76-EE89-4E83-BFA8-3E1FA3718478}"/>
                </a:ext>
              </a:extLst>
            </p:cNvPr>
            <p:cNvSpPr>
              <a:spLocks/>
            </p:cNvSpPr>
            <p:nvPr/>
          </p:nvSpPr>
          <p:spPr bwMode="auto">
            <a:xfrm>
              <a:off x="5527" y="1163"/>
              <a:ext cx="135" cy="522"/>
            </a:xfrm>
            <a:custGeom>
              <a:avLst/>
              <a:gdLst>
                <a:gd name="T0" fmla="*/ 0 w 36"/>
                <a:gd name="T1" fmla="*/ 0 h 139"/>
                <a:gd name="T2" fmla="*/ 0 w 36"/>
                <a:gd name="T3" fmla="*/ 139 h 139"/>
                <a:gd name="T4" fmla="*/ 36 w 36"/>
                <a:gd name="T5" fmla="*/ 119 h 139"/>
                <a:gd name="T6" fmla="*/ 36 w 36"/>
                <a:gd name="T7" fmla="*/ 21 h 139"/>
                <a:gd name="T8" fmla="*/ 0 w 36"/>
                <a:gd name="T9" fmla="*/ 0 h 139"/>
              </a:gdLst>
              <a:ahLst/>
              <a:cxnLst>
                <a:cxn ang="0">
                  <a:pos x="T0" y="T1"/>
                </a:cxn>
                <a:cxn ang="0">
                  <a:pos x="T2" y="T3"/>
                </a:cxn>
                <a:cxn ang="0">
                  <a:pos x="T4" y="T5"/>
                </a:cxn>
                <a:cxn ang="0">
                  <a:pos x="T6" y="T7"/>
                </a:cxn>
                <a:cxn ang="0">
                  <a:pos x="T8" y="T9"/>
                </a:cxn>
              </a:cxnLst>
              <a:rect l="0" t="0" r="r" b="b"/>
              <a:pathLst>
                <a:path w="36" h="139">
                  <a:moveTo>
                    <a:pt x="0" y="0"/>
                  </a:moveTo>
                  <a:cubicBezTo>
                    <a:pt x="0" y="139"/>
                    <a:pt x="0" y="139"/>
                    <a:pt x="0" y="139"/>
                  </a:cubicBezTo>
                  <a:cubicBezTo>
                    <a:pt x="14" y="135"/>
                    <a:pt x="26" y="128"/>
                    <a:pt x="36" y="119"/>
                  </a:cubicBezTo>
                  <a:cubicBezTo>
                    <a:pt x="36" y="21"/>
                    <a:pt x="36" y="21"/>
                    <a:pt x="36" y="21"/>
                  </a:cubicBezTo>
                  <a:cubicBezTo>
                    <a:pt x="26" y="12"/>
                    <a:pt x="14" y="5"/>
                    <a:pt x="0" y="0"/>
                  </a:cubicBezTo>
                </a:path>
              </a:pathLst>
            </a:custGeom>
            <a:solidFill>
              <a:srgbClr val="A0B4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A1D5E926-D6D0-4480-B0C0-57E45567270E}"/>
                </a:ext>
              </a:extLst>
            </p:cNvPr>
            <p:cNvSpPr>
              <a:spLocks/>
            </p:cNvSpPr>
            <p:nvPr/>
          </p:nvSpPr>
          <p:spPr bwMode="auto">
            <a:xfrm>
              <a:off x="5336" y="1654"/>
              <a:ext cx="135" cy="57"/>
            </a:xfrm>
            <a:custGeom>
              <a:avLst/>
              <a:gdLst>
                <a:gd name="T0" fmla="*/ 36 w 36"/>
                <a:gd name="T1" fmla="*/ 0 h 15"/>
                <a:gd name="T2" fmla="*/ 0 w 36"/>
                <a:gd name="T3" fmla="*/ 0 h 15"/>
                <a:gd name="T4" fmla="*/ 0 w 36"/>
                <a:gd name="T5" fmla="*/ 15 h 15"/>
                <a:gd name="T6" fmla="*/ 6 w 36"/>
                <a:gd name="T7" fmla="*/ 15 h 15"/>
                <a:gd name="T8" fmla="*/ 36 w 36"/>
                <a:gd name="T9" fmla="*/ 12 h 15"/>
                <a:gd name="T10" fmla="*/ 36 w 36"/>
                <a:gd name="T11" fmla="*/ 0 h 15"/>
              </a:gdLst>
              <a:ahLst/>
              <a:cxnLst>
                <a:cxn ang="0">
                  <a:pos x="T0" y="T1"/>
                </a:cxn>
                <a:cxn ang="0">
                  <a:pos x="T2" y="T3"/>
                </a:cxn>
                <a:cxn ang="0">
                  <a:pos x="T4" y="T5"/>
                </a:cxn>
                <a:cxn ang="0">
                  <a:pos x="T6" y="T7"/>
                </a:cxn>
                <a:cxn ang="0">
                  <a:pos x="T8" y="T9"/>
                </a:cxn>
                <a:cxn ang="0">
                  <a:pos x="T10" y="T11"/>
                </a:cxn>
              </a:cxnLst>
              <a:rect l="0" t="0" r="r" b="b"/>
              <a:pathLst>
                <a:path w="36" h="15">
                  <a:moveTo>
                    <a:pt x="36" y="0"/>
                  </a:moveTo>
                  <a:cubicBezTo>
                    <a:pt x="0" y="0"/>
                    <a:pt x="0" y="0"/>
                    <a:pt x="0" y="0"/>
                  </a:cubicBezTo>
                  <a:cubicBezTo>
                    <a:pt x="0" y="15"/>
                    <a:pt x="0" y="15"/>
                    <a:pt x="0" y="15"/>
                  </a:cubicBezTo>
                  <a:cubicBezTo>
                    <a:pt x="2" y="15"/>
                    <a:pt x="4" y="15"/>
                    <a:pt x="6" y="15"/>
                  </a:cubicBezTo>
                  <a:cubicBezTo>
                    <a:pt x="17" y="15"/>
                    <a:pt x="27" y="14"/>
                    <a:pt x="36" y="12"/>
                  </a:cubicBezTo>
                  <a:cubicBezTo>
                    <a:pt x="36" y="0"/>
                    <a:pt x="36" y="0"/>
                    <a:pt x="36" y="0"/>
                  </a:cubicBezTo>
                </a:path>
              </a:pathLst>
            </a:custGeom>
            <a:solidFill>
              <a:srgbClr val="A7B6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292BA0DF-4C95-4390-8710-690042ED3C61}"/>
                </a:ext>
              </a:extLst>
            </p:cNvPr>
            <p:cNvSpPr>
              <a:spLocks/>
            </p:cNvSpPr>
            <p:nvPr/>
          </p:nvSpPr>
          <p:spPr bwMode="auto">
            <a:xfrm>
              <a:off x="5141" y="1144"/>
              <a:ext cx="135" cy="563"/>
            </a:xfrm>
            <a:custGeom>
              <a:avLst/>
              <a:gdLst>
                <a:gd name="T0" fmla="*/ 36 w 36"/>
                <a:gd name="T1" fmla="*/ 0 h 150"/>
                <a:gd name="T2" fmla="*/ 0 w 36"/>
                <a:gd name="T3" fmla="*/ 11 h 150"/>
                <a:gd name="T4" fmla="*/ 0 w 36"/>
                <a:gd name="T5" fmla="*/ 139 h 150"/>
                <a:gd name="T6" fmla="*/ 36 w 36"/>
                <a:gd name="T7" fmla="*/ 150 h 150"/>
                <a:gd name="T8" fmla="*/ 36 w 36"/>
                <a:gd name="T9" fmla="*/ 0 h 150"/>
              </a:gdLst>
              <a:ahLst/>
              <a:cxnLst>
                <a:cxn ang="0">
                  <a:pos x="T0" y="T1"/>
                </a:cxn>
                <a:cxn ang="0">
                  <a:pos x="T2" y="T3"/>
                </a:cxn>
                <a:cxn ang="0">
                  <a:pos x="T4" y="T5"/>
                </a:cxn>
                <a:cxn ang="0">
                  <a:pos x="T6" y="T7"/>
                </a:cxn>
                <a:cxn ang="0">
                  <a:pos x="T8" y="T9"/>
                </a:cxn>
              </a:cxnLst>
              <a:rect l="0" t="0" r="r" b="b"/>
              <a:pathLst>
                <a:path w="36" h="150">
                  <a:moveTo>
                    <a:pt x="36" y="0"/>
                  </a:moveTo>
                  <a:cubicBezTo>
                    <a:pt x="23" y="2"/>
                    <a:pt x="11" y="6"/>
                    <a:pt x="0" y="11"/>
                  </a:cubicBezTo>
                  <a:cubicBezTo>
                    <a:pt x="0" y="139"/>
                    <a:pt x="0" y="139"/>
                    <a:pt x="0" y="139"/>
                  </a:cubicBezTo>
                  <a:cubicBezTo>
                    <a:pt x="11" y="144"/>
                    <a:pt x="23" y="148"/>
                    <a:pt x="36" y="150"/>
                  </a:cubicBezTo>
                  <a:cubicBezTo>
                    <a:pt x="36" y="0"/>
                    <a:pt x="36" y="0"/>
                    <a:pt x="36" y="0"/>
                  </a:cubicBezTo>
                </a:path>
              </a:pathLst>
            </a:custGeom>
            <a:solidFill>
              <a:srgbClr val="C5C8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DEB64A83-5FE1-4F69-BE20-3ED58B1AAB9D}"/>
                </a:ext>
              </a:extLst>
            </p:cNvPr>
            <p:cNvSpPr>
              <a:spLocks/>
            </p:cNvSpPr>
            <p:nvPr/>
          </p:nvSpPr>
          <p:spPr bwMode="auto">
            <a:xfrm>
              <a:off x="4965" y="1223"/>
              <a:ext cx="116" cy="405"/>
            </a:xfrm>
            <a:custGeom>
              <a:avLst/>
              <a:gdLst>
                <a:gd name="T0" fmla="*/ 31 w 31"/>
                <a:gd name="T1" fmla="*/ 0 h 108"/>
                <a:gd name="T2" fmla="*/ 0 w 31"/>
                <a:gd name="T3" fmla="*/ 54 h 108"/>
                <a:gd name="T4" fmla="*/ 31 w 31"/>
                <a:gd name="T5" fmla="*/ 108 h 108"/>
                <a:gd name="T6" fmla="*/ 31 w 31"/>
                <a:gd name="T7" fmla="*/ 0 h 108"/>
              </a:gdLst>
              <a:ahLst/>
              <a:cxnLst>
                <a:cxn ang="0">
                  <a:pos x="T0" y="T1"/>
                </a:cxn>
                <a:cxn ang="0">
                  <a:pos x="T2" y="T3"/>
                </a:cxn>
                <a:cxn ang="0">
                  <a:pos x="T4" y="T5"/>
                </a:cxn>
                <a:cxn ang="0">
                  <a:pos x="T6" y="T7"/>
                </a:cxn>
              </a:cxnLst>
              <a:rect l="0" t="0" r="r" b="b"/>
              <a:pathLst>
                <a:path w="31" h="108">
                  <a:moveTo>
                    <a:pt x="31" y="0"/>
                  </a:moveTo>
                  <a:cubicBezTo>
                    <a:pt x="12" y="14"/>
                    <a:pt x="0" y="33"/>
                    <a:pt x="0" y="54"/>
                  </a:cubicBezTo>
                  <a:cubicBezTo>
                    <a:pt x="0" y="75"/>
                    <a:pt x="12" y="94"/>
                    <a:pt x="31" y="108"/>
                  </a:cubicBezTo>
                  <a:cubicBezTo>
                    <a:pt x="31" y="0"/>
                    <a:pt x="31" y="0"/>
                    <a:pt x="31" y="0"/>
                  </a:cubicBezTo>
                </a:path>
              </a:pathLst>
            </a:custGeom>
            <a:solidFill>
              <a:srgbClr val="AEB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617E6B78-8726-4B8C-B9B9-025FEEDC27D1}"/>
                </a:ext>
              </a:extLst>
            </p:cNvPr>
            <p:cNvSpPr>
              <a:spLocks/>
            </p:cNvSpPr>
            <p:nvPr/>
          </p:nvSpPr>
          <p:spPr bwMode="auto">
            <a:xfrm>
              <a:off x="6011" y="1103"/>
              <a:ext cx="762" cy="578"/>
            </a:xfrm>
            <a:custGeom>
              <a:avLst/>
              <a:gdLst>
                <a:gd name="T0" fmla="*/ 109 w 203"/>
                <a:gd name="T1" fmla="*/ 0 h 154"/>
                <a:gd name="T2" fmla="*/ 109 w 203"/>
                <a:gd name="T3" fmla="*/ 9 h 154"/>
                <a:gd name="T4" fmla="*/ 52 w 203"/>
                <a:gd name="T5" fmla="*/ 9 h 154"/>
                <a:gd name="T6" fmla="*/ 21 w 203"/>
                <a:gd name="T7" fmla="*/ 30 h 154"/>
                <a:gd name="T8" fmla="*/ 119 w 203"/>
                <a:gd name="T9" fmla="*/ 30 h 154"/>
                <a:gd name="T10" fmla="*/ 119 w 203"/>
                <a:gd name="T11" fmla="*/ 49 h 154"/>
                <a:gd name="T12" fmla="*/ 7 w 203"/>
                <a:gd name="T13" fmla="*/ 49 h 154"/>
                <a:gd name="T14" fmla="*/ 0 w 203"/>
                <a:gd name="T15" fmla="*/ 67 h 154"/>
                <a:gd name="T16" fmla="*/ 84 w 203"/>
                <a:gd name="T17" fmla="*/ 67 h 154"/>
                <a:gd name="T18" fmla="*/ 84 w 203"/>
                <a:gd name="T19" fmla="*/ 86 h 154"/>
                <a:gd name="T20" fmla="*/ 0 w 203"/>
                <a:gd name="T21" fmla="*/ 86 h 154"/>
                <a:gd name="T22" fmla="*/ 49 w 203"/>
                <a:gd name="T23" fmla="*/ 142 h 154"/>
                <a:gd name="T24" fmla="*/ 52 w 203"/>
                <a:gd name="T25" fmla="*/ 140 h 154"/>
                <a:gd name="T26" fmla="*/ 59 w 203"/>
                <a:gd name="T27" fmla="*/ 136 h 154"/>
                <a:gd name="T28" fmla="*/ 68 w 203"/>
                <a:gd name="T29" fmla="*/ 131 h 154"/>
                <a:gd name="T30" fmla="*/ 76 w 203"/>
                <a:gd name="T31" fmla="*/ 128 h 154"/>
                <a:gd name="T32" fmla="*/ 85 w 203"/>
                <a:gd name="T33" fmla="*/ 126 h 154"/>
                <a:gd name="T34" fmla="*/ 94 w 203"/>
                <a:gd name="T35" fmla="*/ 125 h 154"/>
                <a:gd name="T36" fmla="*/ 104 w 203"/>
                <a:gd name="T37" fmla="*/ 124 h 154"/>
                <a:gd name="T38" fmla="*/ 104 w 203"/>
                <a:gd name="T39" fmla="*/ 154 h 154"/>
                <a:gd name="T40" fmla="*/ 122 w 203"/>
                <a:gd name="T41" fmla="*/ 152 h 154"/>
                <a:gd name="T42" fmla="*/ 122 w 203"/>
                <a:gd name="T43" fmla="*/ 107 h 154"/>
                <a:gd name="T44" fmla="*/ 132 w 203"/>
                <a:gd name="T45" fmla="*/ 107 h 154"/>
                <a:gd name="T46" fmla="*/ 140 w 203"/>
                <a:gd name="T47" fmla="*/ 108 h 154"/>
                <a:gd name="T48" fmla="*/ 150 w 203"/>
                <a:gd name="T49" fmla="*/ 111 h 154"/>
                <a:gd name="T50" fmla="*/ 158 w 203"/>
                <a:gd name="T51" fmla="*/ 114 h 154"/>
                <a:gd name="T52" fmla="*/ 167 w 203"/>
                <a:gd name="T53" fmla="*/ 117 h 154"/>
                <a:gd name="T54" fmla="*/ 174 w 203"/>
                <a:gd name="T55" fmla="*/ 123 h 154"/>
                <a:gd name="T56" fmla="*/ 179 w 203"/>
                <a:gd name="T57" fmla="*/ 126 h 154"/>
                <a:gd name="T58" fmla="*/ 203 w 203"/>
                <a:gd name="T59" fmla="*/ 77 h 154"/>
                <a:gd name="T60" fmla="*/ 109 w 203"/>
                <a:gd name="T6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154">
                  <a:moveTo>
                    <a:pt x="109" y="0"/>
                  </a:moveTo>
                  <a:cubicBezTo>
                    <a:pt x="109" y="9"/>
                    <a:pt x="109" y="9"/>
                    <a:pt x="109" y="9"/>
                  </a:cubicBezTo>
                  <a:cubicBezTo>
                    <a:pt x="52" y="9"/>
                    <a:pt x="52" y="9"/>
                    <a:pt x="52" y="9"/>
                  </a:cubicBezTo>
                  <a:cubicBezTo>
                    <a:pt x="40" y="14"/>
                    <a:pt x="29" y="22"/>
                    <a:pt x="21" y="30"/>
                  </a:cubicBezTo>
                  <a:cubicBezTo>
                    <a:pt x="119" y="30"/>
                    <a:pt x="119" y="30"/>
                    <a:pt x="119" y="30"/>
                  </a:cubicBezTo>
                  <a:cubicBezTo>
                    <a:pt x="119" y="49"/>
                    <a:pt x="119" y="49"/>
                    <a:pt x="119" y="49"/>
                  </a:cubicBezTo>
                  <a:cubicBezTo>
                    <a:pt x="7" y="49"/>
                    <a:pt x="7" y="49"/>
                    <a:pt x="7" y="49"/>
                  </a:cubicBezTo>
                  <a:cubicBezTo>
                    <a:pt x="4" y="55"/>
                    <a:pt x="2" y="61"/>
                    <a:pt x="0" y="67"/>
                  </a:cubicBezTo>
                  <a:cubicBezTo>
                    <a:pt x="84" y="67"/>
                    <a:pt x="84" y="67"/>
                    <a:pt x="84" y="67"/>
                  </a:cubicBezTo>
                  <a:cubicBezTo>
                    <a:pt x="84" y="86"/>
                    <a:pt x="84" y="86"/>
                    <a:pt x="84" y="86"/>
                  </a:cubicBezTo>
                  <a:cubicBezTo>
                    <a:pt x="0" y="86"/>
                    <a:pt x="0" y="86"/>
                    <a:pt x="0" y="86"/>
                  </a:cubicBezTo>
                  <a:cubicBezTo>
                    <a:pt x="4" y="110"/>
                    <a:pt x="23" y="130"/>
                    <a:pt x="49" y="142"/>
                  </a:cubicBezTo>
                  <a:cubicBezTo>
                    <a:pt x="52" y="140"/>
                    <a:pt x="52" y="140"/>
                    <a:pt x="52" y="140"/>
                  </a:cubicBezTo>
                  <a:cubicBezTo>
                    <a:pt x="59" y="136"/>
                    <a:pt x="59" y="136"/>
                    <a:pt x="59" y="136"/>
                  </a:cubicBezTo>
                  <a:cubicBezTo>
                    <a:pt x="68" y="131"/>
                    <a:pt x="68" y="131"/>
                    <a:pt x="68" y="131"/>
                  </a:cubicBezTo>
                  <a:cubicBezTo>
                    <a:pt x="76" y="128"/>
                    <a:pt x="76" y="128"/>
                    <a:pt x="76" y="128"/>
                  </a:cubicBezTo>
                  <a:cubicBezTo>
                    <a:pt x="85" y="126"/>
                    <a:pt x="85" y="126"/>
                    <a:pt x="85" y="126"/>
                  </a:cubicBezTo>
                  <a:cubicBezTo>
                    <a:pt x="94" y="125"/>
                    <a:pt x="94" y="125"/>
                    <a:pt x="94" y="125"/>
                  </a:cubicBezTo>
                  <a:cubicBezTo>
                    <a:pt x="104" y="124"/>
                    <a:pt x="104" y="124"/>
                    <a:pt x="104" y="124"/>
                  </a:cubicBezTo>
                  <a:cubicBezTo>
                    <a:pt x="104" y="154"/>
                    <a:pt x="104" y="154"/>
                    <a:pt x="104" y="154"/>
                  </a:cubicBezTo>
                  <a:cubicBezTo>
                    <a:pt x="110" y="153"/>
                    <a:pt x="116" y="153"/>
                    <a:pt x="122" y="152"/>
                  </a:cubicBezTo>
                  <a:cubicBezTo>
                    <a:pt x="122" y="107"/>
                    <a:pt x="122" y="107"/>
                    <a:pt x="122" y="107"/>
                  </a:cubicBezTo>
                  <a:cubicBezTo>
                    <a:pt x="132" y="107"/>
                    <a:pt x="132" y="107"/>
                    <a:pt x="132" y="107"/>
                  </a:cubicBezTo>
                  <a:cubicBezTo>
                    <a:pt x="140" y="108"/>
                    <a:pt x="140" y="108"/>
                    <a:pt x="140" y="108"/>
                  </a:cubicBezTo>
                  <a:cubicBezTo>
                    <a:pt x="150" y="111"/>
                    <a:pt x="150" y="111"/>
                    <a:pt x="150" y="111"/>
                  </a:cubicBezTo>
                  <a:cubicBezTo>
                    <a:pt x="158" y="114"/>
                    <a:pt x="158" y="114"/>
                    <a:pt x="158" y="114"/>
                  </a:cubicBezTo>
                  <a:cubicBezTo>
                    <a:pt x="167" y="117"/>
                    <a:pt x="167" y="117"/>
                    <a:pt x="167" y="117"/>
                  </a:cubicBezTo>
                  <a:cubicBezTo>
                    <a:pt x="174" y="123"/>
                    <a:pt x="174" y="123"/>
                    <a:pt x="174" y="123"/>
                  </a:cubicBezTo>
                  <a:cubicBezTo>
                    <a:pt x="179" y="126"/>
                    <a:pt x="179" y="126"/>
                    <a:pt x="179" y="126"/>
                  </a:cubicBezTo>
                  <a:cubicBezTo>
                    <a:pt x="194" y="113"/>
                    <a:pt x="203" y="96"/>
                    <a:pt x="203" y="77"/>
                  </a:cubicBezTo>
                  <a:cubicBezTo>
                    <a:pt x="203" y="36"/>
                    <a:pt x="162" y="3"/>
                    <a:pt x="109" y="0"/>
                  </a:cubicBezTo>
                </a:path>
              </a:pathLst>
            </a:custGeom>
            <a:solidFill>
              <a:srgbClr val="D8F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870241B0-B0D5-44F9-94BE-690D4FBE1495}"/>
                </a:ext>
              </a:extLst>
            </p:cNvPr>
            <p:cNvSpPr>
              <a:spLocks/>
            </p:cNvSpPr>
            <p:nvPr/>
          </p:nvSpPr>
          <p:spPr bwMode="auto">
            <a:xfrm>
              <a:off x="6195" y="1568"/>
              <a:ext cx="207" cy="113"/>
            </a:xfrm>
            <a:custGeom>
              <a:avLst/>
              <a:gdLst>
                <a:gd name="T0" fmla="*/ 55 w 55"/>
                <a:gd name="T1" fmla="*/ 0 h 30"/>
                <a:gd name="T2" fmla="*/ 45 w 55"/>
                <a:gd name="T3" fmla="*/ 1 h 30"/>
                <a:gd name="T4" fmla="*/ 36 w 55"/>
                <a:gd name="T5" fmla="*/ 2 h 30"/>
                <a:gd name="T6" fmla="*/ 27 w 55"/>
                <a:gd name="T7" fmla="*/ 4 h 30"/>
                <a:gd name="T8" fmla="*/ 19 w 55"/>
                <a:gd name="T9" fmla="*/ 7 h 30"/>
                <a:gd name="T10" fmla="*/ 10 w 55"/>
                <a:gd name="T11" fmla="*/ 12 h 30"/>
                <a:gd name="T12" fmla="*/ 3 w 55"/>
                <a:gd name="T13" fmla="*/ 16 h 30"/>
                <a:gd name="T14" fmla="*/ 0 w 55"/>
                <a:gd name="T15" fmla="*/ 18 h 30"/>
                <a:gd name="T16" fmla="*/ 53 w 55"/>
                <a:gd name="T17" fmla="*/ 30 h 30"/>
                <a:gd name="T18" fmla="*/ 55 w 55"/>
                <a:gd name="T19" fmla="*/ 30 h 30"/>
                <a:gd name="T20" fmla="*/ 55 w 55"/>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30">
                  <a:moveTo>
                    <a:pt x="55" y="0"/>
                  </a:moveTo>
                  <a:cubicBezTo>
                    <a:pt x="45" y="1"/>
                    <a:pt x="45" y="1"/>
                    <a:pt x="45" y="1"/>
                  </a:cubicBezTo>
                  <a:cubicBezTo>
                    <a:pt x="36" y="2"/>
                    <a:pt x="36" y="2"/>
                    <a:pt x="36" y="2"/>
                  </a:cubicBezTo>
                  <a:cubicBezTo>
                    <a:pt x="27" y="4"/>
                    <a:pt x="27" y="4"/>
                    <a:pt x="27" y="4"/>
                  </a:cubicBezTo>
                  <a:cubicBezTo>
                    <a:pt x="19" y="7"/>
                    <a:pt x="19" y="7"/>
                    <a:pt x="19" y="7"/>
                  </a:cubicBezTo>
                  <a:cubicBezTo>
                    <a:pt x="10" y="12"/>
                    <a:pt x="10" y="12"/>
                    <a:pt x="10" y="12"/>
                  </a:cubicBezTo>
                  <a:cubicBezTo>
                    <a:pt x="3" y="16"/>
                    <a:pt x="3" y="16"/>
                    <a:pt x="3" y="16"/>
                  </a:cubicBezTo>
                  <a:cubicBezTo>
                    <a:pt x="0" y="18"/>
                    <a:pt x="0" y="18"/>
                    <a:pt x="0" y="18"/>
                  </a:cubicBezTo>
                  <a:cubicBezTo>
                    <a:pt x="15" y="26"/>
                    <a:pt x="33" y="30"/>
                    <a:pt x="53" y="30"/>
                  </a:cubicBezTo>
                  <a:cubicBezTo>
                    <a:pt x="53" y="30"/>
                    <a:pt x="54" y="30"/>
                    <a:pt x="55" y="30"/>
                  </a:cubicBezTo>
                  <a:cubicBezTo>
                    <a:pt x="55" y="0"/>
                    <a:pt x="55" y="0"/>
                    <a:pt x="55" y="0"/>
                  </a:cubicBezTo>
                </a:path>
              </a:pathLst>
            </a:custGeom>
            <a:solidFill>
              <a:srgbClr val="CEC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B85D198C-827F-448D-99FD-77E611A5C377}"/>
                </a:ext>
              </a:extLst>
            </p:cNvPr>
            <p:cNvSpPr>
              <a:spLocks/>
            </p:cNvSpPr>
            <p:nvPr/>
          </p:nvSpPr>
          <p:spPr bwMode="auto">
            <a:xfrm>
              <a:off x="6469" y="1504"/>
              <a:ext cx="214" cy="169"/>
            </a:xfrm>
            <a:custGeom>
              <a:avLst/>
              <a:gdLst>
                <a:gd name="T0" fmla="*/ 10 w 57"/>
                <a:gd name="T1" fmla="*/ 0 h 45"/>
                <a:gd name="T2" fmla="*/ 0 w 57"/>
                <a:gd name="T3" fmla="*/ 0 h 45"/>
                <a:gd name="T4" fmla="*/ 0 w 57"/>
                <a:gd name="T5" fmla="*/ 45 h 45"/>
                <a:gd name="T6" fmla="*/ 57 w 57"/>
                <a:gd name="T7" fmla="*/ 19 h 45"/>
                <a:gd name="T8" fmla="*/ 52 w 57"/>
                <a:gd name="T9" fmla="*/ 16 h 45"/>
                <a:gd name="T10" fmla="*/ 45 w 57"/>
                <a:gd name="T11" fmla="*/ 10 h 45"/>
                <a:gd name="T12" fmla="*/ 36 w 57"/>
                <a:gd name="T13" fmla="*/ 7 h 45"/>
                <a:gd name="T14" fmla="*/ 28 w 57"/>
                <a:gd name="T15" fmla="*/ 4 h 45"/>
                <a:gd name="T16" fmla="*/ 18 w 57"/>
                <a:gd name="T17" fmla="*/ 1 h 45"/>
                <a:gd name="T18" fmla="*/ 10 w 57"/>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5">
                  <a:moveTo>
                    <a:pt x="10" y="0"/>
                  </a:moveTo>
                  <a:cubicBezTo>
                    <a:pt x="0" y="0"/>
                    <a:pt x="0" y="0"/>
                    <a:pt x="0" y="0"/>
                  </a:cubicBezTo>
                  <a:cubicBezTo>
                    <a:pt x="0" y="45"/>
                    <a:pt x="0" y="45"/>
                    <a:pt x="0" y="45"/>
                  </a:cubicBezTo>
                  <a:cubicBezTo>
                    <a:pt x="23" y="42"/>
                    <a:pt x="43" y="32"/>
                    <a:pt x="57" y="19"/>
                  </a:cubicBezTo>
                  <a:cubicBezTo>
                    <a:pt x="52" y="16"/>
                    <a:pt x="52" y="16"/>
                    <a:pt x="52" y="16"/>
                  </a:cubicBezTo>
                  <a:cubicBezTo>
                    <a:pt x="45" y="10"/>
                    <a:pt x="45" y="10"/>
                    <a:pt x="45" y="10"/>
                  </a:cubicBezTo>
                  <a:cubicBezTo>
                    <a:pt x="36" y="7"/>
                    <a:pt x="36" y="7"/>
                    <a:pt x="36" y="7"/>
                  </a:cubicBezTo>
                  <a:cubicBezTo>
                    <a:pt x="28" y="4"/>
                    <a:pt x="28" y="4"/>
                    <a:pt x="28" y="4"/>
                  </a:cubicBezTo>
                  <a:cubicBezTo>
                    <a:pt x="18" y="1"/>
                    <a:pt x="18" y="1"/>
                    <a:pt x="18" y="1"/>
                  </a:cubicBezTo>
                  <a:cubicBezTo>
                    <a:pt x="10" y="0"/>
                    <a:pt x="10" y="0"/>
                    <a:pt x="10" y="0"/>
                  </a:cubicBezTo>
                </a:path>
              </a:pathLst>
            </a:custGeom>
            <a:solidFill>
              <a:srgbClr val="D8D6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3374FB95-C381-4CE5-9B04-124E5440E527}"/>
                </a:ext>
              </a:extLst>
            </p:cNvPr>
            <p:cNvSpPr>
              <a:spLocks/>
            </p:cNvSpPr>
            <p:nvPr/>
          </p:nvSpPr>
          <p:spPr bwMode="auto">
            <a:xfrm>
              <a:off x="6206" y="1103"/>
              <a:ext cx="214" cy="34"/>
            </a:xfrm>
            <a:custGeom>
              <a:avLst/>
              <a:gdLst>
                <a:gd name="T0" fmla="*/ 50 w 57"/>
                <a:gd name="T1" fmla="*/ 0 h 9"/>
                <a:gd name="T2" fmla="*/ 0 w 57"/>
                <a:gd name="T3" fmla="*/ 9 h 9"/>
                <a:gd name="T4" fmla="*/ 57 w 57"/>
                <a:gd name="T5" fmla="*/ 9 h 9"/>
                <a:gd name="T6" fmla="*/ 57 w 57"/>
                <a:gd name="T7" fmla="*/ 0 h 9"/>
                <a:gd name="T8" fmla="*/ 50 w 57"/>
                <a:gd name="T9" fmla="*/ 0 h 9"/>
              </a:gdLst>
              <a:ahLst/>
              <a:cxnLst>
                <a:cxn ang="0">
                  <a:pos x="T0" y="T1"/>
                </a:cxn>
                <a:cxn ang="0">
                  <a:pos x="T2" y="T3"/>
                </a:cxn>
                <a:cxn ang="0">
                  <a:pos x="T4" y="T5"/>
                </a:cxn>
                <a:cxn ang="0">
                  <a:pos x="T6" y="T7"/>
                </a:cxn>
                <a:cxn ang="0">
                  <a:pos x="T8" y="T9"/>
                </a:cxn>
              </a:cxnLst>
              <a:rect l="0" t="0" r="r" b="b"/>
              <a:pathLst>
                <a:path w="57" h="9">
                  <a:moveTo>
                    <a:pt x="50" y="0"/>
                  </a:moveTo>
                  <a:cubicBezTo>
                    <a:pt x="32" y="0"/>
                    <a:pt x="15" y="3"/>
                    <a:pt x="0" y="9"/>
                  </a:cubicBezTo>
                  <a:cubicBezTo>
                    <a:pt x="57" y="9"/>
                    <a:pt x="57" y="9"/>
                    <a:pt x="57" y="9"/>
                  </a:cubicBezTo>
                  <a:cubicBezTo>
                    <a:pt x="57" y="0"/>
                    <a:pt x="57" y="0"/>
                    <a:pt x="57" y="0"/>
                  </a:cubicBezTo>
                  <a:cubicBezTo>
                    <a:pt x="54" y="0"/>
                    <a:pt x="52" y="0"/>
                    <a:pt x="50" y="0"/>
                  </a:cubicBezTo>
                </a:path>
              </a:pathLst>
            </a:custGeom>
            <a:solidFill>
              <a:srgbClr val="91C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9740E168-719E-4236-8946-8398E69E04D4}"/>
                </a:ext>
              </a:extLst>
            </p:cNvPr>
            <p:cNvSpPr>
              <a:spLocks/>
            </p:cNvSpPr>
            <p:nvPr/>
          </p:nvSpPr>
          <p:spPr bwMode="auto">
            <a:xfrm>
              <a:off x="6038" y="1216"/>
              <a:ext cx="420" cy="71"/>
            </a:xfrm>
            <a:custGeom>
              <a:avLst/>
              <a:gdLst>
                <a:gd name="T0" fmla="*/ 112 w 112"/>
                <a:gd name="T1" fmla="*/ 0 h 19"/>
                <a:gd name="T2" fmla="*/ 14 w 112"/>
                <a:gd name="T3" fmla="*/ 0 h 19"/>
                <a:gd name="T4" fmla="*/ 0 w 112"/>
                <a:gd name="T5" fmla="*/ 19 h 19"/>
                <a:gd name="T6" fmla="*/ 112 w 112"/>
                <a:gd name="T7" fmla="*/ 19 h 19"/>
                <a:gd name="T8" fmla="*/ 112 w 112"/>
                <a:gd name="T9" fmla="*/ 0 h 19"/>
              </a:gdLst>
              <a:ahLst/>
              <a:cxnLst>
                <a:cxn ang="0">
                  <a:pos x="T0" y="T1"/>
                </a:cxn>
                <a:cxn ang="0">
                  <a:pos x="T2" y="T3"/>
                </a:cxn>
                <a:cxn ang="0">
                  <a:pos x="T4" y="T5"/>
                </a:cxn>
                <a:cxn ang="0">
                  <a:pos x="T6" y="T7"/>
                </a:cxn>
                <a:cxn ang="0">
                  <a:pos x="T8" y="T9"/>
                </a:cxn>
              </a:cxnLst>
              <a:rect l="0" t="0" r="r" b="b"/>
              <a:pathLst>
                <a:path w="112" h="19">
                  <a:moveTo>
                    <a:pt x="112" y="0"/>
                  </a:moveTo>
                  <a:cubicBezTo>
                    <a:pt x="14" y="0"/>
                    <a:pt x="14" y="0"/>
                    <a:pt x="14" y="0"/>
                  </a:cubicBezTo>
                  <a:cubicBezTo>
                    <a:pt x="8" y="6"/>
                    <a:pt x="3" y="12"/>
                    <a:pt x="0" y="19"/>
                  </a:cubicBezTo>
                  <a:cubicBezTo>
                    <a:pt x="112" y="19"/>
                    <a:pt x="112" y="19"/>
                    <a:pt x="112" y="19"/>
                  </a:cubicBezTo>
                  <a:cubicBezTo>
                    <a:pt x="112" y="0"/>
                    <a:pt x="112" y="0"/>
                    <a:pt x="112" y="0"/>
                  </a:cubicBezTo>
                </a:path>
              </a:pathLst>
            </a:custGeom>
            <a:solidFill>
              <a:srgbClr val="91C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A1AE2003-9A3A-4427-A8A5-EF8C4F1357DD}"/>
                </a:ext>
              </a:extLst>
            </p:cNvPr>
            <p:cNvSpPr>
              <a:spLocks/>
            </p:cNvSpPr>
            <p:nvPr/>
          </p:nvSpPr>
          <p:spPr bwMode="auto">
            <a:xfrm>
              <a:off x="6011" y="1354"/>
              <a:ext cx="315" cy="72"/>
            </a:xfrm>
            <a:custGeom>
              <a:avLst/>
              <a:gdLst>
                <a:gd name="T0" fmla="*/ 84 w 84"/>
                <a:gd name="T1" fmla="*/ 0 h 19"/>
                <a:gd name="T2" fmla="*/ 0 w 84"/>
                <a:gd name="T3" fmla="*/ 0 h 19"/>
                <a:gd name="T4" fmla="*/ 0 w 84"/>
                <a:gd name="T5" fmla="*/ 10 h 19"/>
                <a:gd name="T6" fmla="*/ 0 w 84"/>
                <a:gd name="T7" fmla="*/ 19 h 19"/>
                <a:gd name="T8" fmla="*/ 84 w 84"/>
                <a:gd name="T9" fmla="*/ 19 h 19"/>
                <a:gd name="T10" fmla="*/ 84 w 84"/>
                <a:gd name="T11" fmla="*/ 0 h 19"/>
              </a:gdLst>
              <a:ahLst/>
              <a:cxnLst>
                <a:cxn ang="0">
                  <a:pos x="T0" y="T1"/>
                </a:cxn>
                <a:cxn ang="0">
                  <a:pos x="T2" y="T3"/>
                </a:cxn>
                <a:cxn ang="0">
                  <a:pos x="T4" y="T5"/>
                </a:cxn>
                <a:cxn ang="0">
                  <a:pos x="T6" y="T7"/>
                </a:cxn>
                <a:cxn ang="0">
                  <a:pos x="T8" y="T9"/>
                </a:cxn>
                <a:cxn ang="0">
                  <a:pos x="T10" y="T11"/>
                </a:cxn>
              </a:cxnLst>
              <a:rect l="0" t="0" r="r" b="b"/>
              <a:pathLst>
                <a:path w="84" h="19">
                  <a:moveTo>
                    <a:pt x="84" y="0"/>
                  </a:moveTo>
                  <a:cubicBezTo>
                    <a:pt x="0" y="0"/>
                    <a:pt x="0" y="0"/>
                    <a:pt x="0" y="0"/>
                  </a:cubicBezTo>
                  <a:cubicBezTo>
                    <a:pt x="0" y="3"/>
                    <a:pt x="0" y="7"/>
                    <a:pt x="0" y="10"/>
                  </a:cubicBezTo>
                  <a:cubicBezTo>
                    <a:pt x="0" y="13"/>
                    <a:pt x="0" y="16"/>
                    <a:pt x="0" y="19"/>
                  </a:cubicBezTo>
                  <a:cubicBezTo>
                    <a:pt x="84" y="19"/>
                    <a:pt x="84" y="19"/>
                    <a:pt x="84" y="19"/>
                  </a:cubicBezTo>
                  <a:cubicBezTo>
                    <a:pt x="84" y="0"/>
                    <a:pt x="84" y="0"/>
                    <a:pt x="84" y="0"/>
                  </a:cubicBezTo>
                </a:path>
              </a:pathLst>
            </a:custGeom>
            <a:solidFill>
              <a:srgbClr val="91C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0C689482-CEC1-44F4-9E8C-8443049E4957}"/>
                </a:ext>
              </a:extLst>
            </p:cNvPr>
            <p:cNvSpPr>
              <a:spLocks noEditPoints="1"/>
            </p:cNvSpPr>
            <p:nvPr/>
          </p:nvSpPr>
          <p:spPr bwMode="auto">
            <a:xfrm>
              <a:off x="4826" y="1069"/>
              <a:ext cx="2067" cy="713"/>
            </a:xfrm>
            <a:custGeom>
              <a:avLst/>
              <a:gdLst>
                <a:gd name="T0" fmla="*/ 546 w 551"/>
                <a:gd name="T1" fmla="*/ 12 h 190"/>
                <a:gd name="T2" fmla="*/ 408 w 551"/>
                <a:gd name="T3" fmla="*/ 9 h 190"/>
                <a:gd name="T4" fmla="*/ 278 w 551"/>
                <a:gd name="T5" fmla="*/ 40 h 190"/>
                <a:gd name="T6" fmla="*/ 144 w 551"/>
                <a:gd name="T7" fmla="*/ 17 h 190"/>
                <a:gd name="T8" fmla="*/ 6 w 551"/>
                <a:gd name="T9" fmla="*/ 28 h 190"/>
                <a:gd name="T10" fmla="*/ 5 w 551"/>
                <a:gd name="T11" fmla="*/ 46 h 190"/>
                <a:gd name="T12" fmla="*/ 22 w 551"/>
                <a:gd name="T13" fmla="*/ 66 h 190"/>
                <a:gd name="T14" fmla="*/ 40 w 551"/>
                <a:gd name="T15" fmla="*/ 109 h 190"/>
                <a:gd name="T16" fmla="*/ 170 w 551"/>
                <a:gd name="T17" fmla="*/ 177 h 190"/>
                <a:gd name="T18" fmla="*/ 258 w 551"/>
                <a:gd name="T19" fmla="*/ 79 h 190"/>
                <a:gd name="T20" fmla="*/ 278 w 551"/>
                <a:gd name="T21" fmla="*/ 67 h 190"/>
                <a:gd name="T22" fmla="*/ 299 w 551"/>
                <a:gd name="T23" fmla="*/ 78 h 190"/>
                <a:gd name="T24" fmla="*/ 393 w 551"/>
                <a:gd name="T25" fmla="*/ 170 h 190"/>
                <a:gd name="T26" fmla="*/ 516 w 551"/>
                <a:gd name="T27" fmla="*/ 94 h 190"/>
                <a:gd name="T28" fmla="*/ 532 w 551"/>
                <a:gd name="T29" fmla="*/ 50 h 190"/>
                <a:gd name="T30" fmla="*/ 547 w 551"/>
                <a:gd name="T31" fmla="*/ 29 h 190"/>
                <a:gd name="T32" fmla="*/ 546 w 551"/>
                <a:gd name="T33" fmla="*/ 12 h 190"/>
                <a:gd name="T34" fmla="*/ 213 w 551"/>
                <a:gd name="T35" fmla="*/ 137 h 190"/>
                <a:gd name="T36" fmla="*/ 116 w 551"/>
                <a:gd name="T37" fmla="*/ 167 h 190"/>
                <a:gd name="T38" fmla="*/ 51 w 551"/>
                <a:gd name="T39" fmla="*/ 73 h 190"/>
                <a:gd name="T40" fmla="*/ 147 w 551"/>
                <a:gd name="T41" fmla="*/ 30 h 190"/>
                <a:gd name="T42" fmla="*/ 217 w 551"/>
                <a:gd name="T43" fmla="*/ 45 h 190"/>
                <a:gd name="T44" fmla="*/ 213 w 551"/>
                <a:gd name="T45" fmla="*/ 137 h 190"/>
                <a:gd name="T46" fmla="*/ 445 w 551"/>
                <a:gd name="T47" fmla="*/ 157 h 190"/>
                <a:gd name="T48" fmla="*/ 348 w 551"/>
                <a:gd name="T49" fmla="*/ 133 h 190"/>
                <a:gd name="T50" fmla="*/ 338 w 551"/>
                <a:gd name="T51" fmla="*/ 42 h 190"/>
                <a:gd name="T52" fmla="*/ 406 w 551"/>
                <a:gd name="T53" fmla="*/ 22 h 190"/>
                <a:gd name="T54" fmla="*/ 503 w 551"/>
                <a:gd name="T55" fmla="*/ 59 h 190"/>
                <a:gd name="T56" fmla="*/ 445 w 551"/>
                <a:gd name="T57" fmla="*/ 15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1" h="190">
                  <a:moveTo>
                    <a:pt x="546" y="12"/>
                  </a:moveTo>
                  <a:cubicBezTo>
                    <a:pt x="546" y="12"/>
                    <a:pt x="466" y="0"/>
                    <a:pt x="408" y="9"/>
                  </a:cubicBezTo>
                  <a:cubicBezTo>
                    <a:pt x="350" y="17"/>
                    <a:pt x="305" y="39"/>
                    <a:pt x="278" y="40"/>
                  </a:cubicBezTo>
                  <a:cubicBezTo>
                    <a:pt x="251" y="41"/>
                    <a:pt x="203" y="22"/>
                    <a:pt x="144" y="17"/>
                  </a:cubicBezTo>
                  <a:cubicBezTo>
                    <a:pt x="85" y="11"/>
                    <a:pt x="6" y="28"/>
                    <a:pt x="6" y="28"/>
                  </a:cubicBezTo>
                  <a:cubicBezTo>
                    <a:pt x="0" y="29"/>
                    <a:pt x="3" y="35"/>
                    <a:pt x="5" y="46"/>
                  </a:cubicBezTo>
                  <a:cubicBezTo>
                    <a:pt x="8" y="56"/>
                    <a:pt x="8" y="59"/>
                    <a:pt x="22" y="66"/>
                  </a:cubicBezTo>
                  <a:cubicBezTo>
                    <a:pt x="35" y="72"/>
                    <a:pt x="40" y="109"/>
                    <a:pt x="40" y="109"/>
                  </a:cubicBezTo>
                  <a:cubicBezTo>
                    <a:pt x="53" y="173"/>
                    <a:pt x="103" y="190"/>
                    <a:pt x="170" y="177"/>
                  </a:cubicBezTo>
                  <a:cubicBezTo>
                    <a:pt x="237" y="164"/>
                    <a:pt x="252" y="91"/>
                    <a:pt x="258" y="79"/>
                  </a:cubicBezTo>
                  <a:cubicBezTo>
                    <a:pt x="265" y="67"/>
                    <a:pt x="278" y="67"/>
                    <a:pt x="278" y="67"/>
                  </a:cubicBezTo>
                  <a:cubicBezTo>
                    <a:pt x="278" y="67"/>
                    <a:pt x="292" y="66"/>
                    <a:pt x="299" y="78"/>
                  </a:cubicBezTo>
                  <a:cubicBezTo>
                    <a:pt x="307" y="89"/>
                    <a:pt x="325" y="161"/>
                    <a:pt x="393" y="170"/>
                  </a:cubicBezTo>
                  <a:cubicBezTo>
                    <a:pt x="459" y="179"/>
                    <a:pt x="507" y="159"/>
                    <a:pt x="516" y="94"/>
                  </a:cubicBezTo>
                  <a:cubicBezTo>
                    <a:pt x="516" y="94"/>
                    <a:pt x="518" y="58"/>
                    <a:pt x="532" y="50"/>
                  </a:cubicBezTo>
                  <a:cubicBezTo>
                    <a:pt x="545" y="43"/>
                    <a:pt x="545" y="39"/>
                    <a:pt x="547" y="29"/>
                  </a:cubicBezTo>
                  <a:cubicBezTo>
                    <a:pt x="549" y="18"/>
                    <a:pt x="551" y="12"/>
                    <a:pt x="546" y="12"/>
                  </a:cubicBezTo>
                  <a:close/>
                  <a:moveTo>
                    <a:pt x="213" y="137"/>
                  </a:moveTo>
                  <a:cubicBezTo>
                    <a:pt x="194" y="162"/>
                    <a:pt x="162" y="172"/>
                    <a:pt x="116" y="167"/>
                  </a:cubicBezTo>
                  <a:cubicBezTo>
                    <a:pt x="71" y="161"/>
                    <a:pt x="53" y="128"/>
                    <a:pt x="51" y="73"/>
                  </a:cubicBezTo>
                  <a:cubicBezTo>
                    <a:pt x="49" y="18"/>
                    <a:pt x="147" y="30"/>
                    <a:pt x="147" y="30"/>
                  </a:cubicBezTo>
                  <a:cubicBezTo>
                    <a:pt x="185" y="35"/>
                    <a:pt x="185" y="35"/>
                    <a:pt x="217" y="45"/>
                  </a:cubicBezTo>
                  <a:cubicBezTo>
                    <a:pt x="249" y="56"/>
                    <a:pt x="230" y="113"/>
                    <a:pt x="213" y="137"/>
                  </a:cubicBezTo>
                  <a:close/>
                  <a:moveTo>
                    <a:pt x="445" y="157"/>
                  </a:moveTo>
                  <a:cubicBezTo>
                    <a:pt x="400" y="165"/>
                    <a:pt x="367" y="156"/>
                    <a:pt x="348" y="133"/>
                  </a:cubicBezTo>
                  <a:cubicBezTo>
                    <a:pt x="329" y="110"/>
                    <a:pt x="307" y="54"/>
                    <a:pt x="338" y="42"/>
                  </a:cubicBezTo>
                  <a:cubicBezTo>
                    <a:pt x="368" y="29"/>
                    <a:pt x="368" y="29"/>
                    <a:pt x="406" y="22"/>
                  </a:cubicBezTo>
                  <a:cubicBezTo>
                    <a:pt x="406" y="22"/>
                    <a:pt x="502" y="3"/>
                    <a:pt x="503" y="59"/>
                  </a:cubicBezTo>
                  <a:cubicBezTo>
                    <a:pt x="506" y="115"/>
                    <a:pt x="490" y="148"/>
                    <a:pt x="445" y="1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38CA84A0-826A-4648-92EC-4BAD6801DC28}"/>
                </a:ext>
              </a:extLst>
            </p:cNvPr>
            <p:cNvSpPr>
              <a:spLocks/>
            </p:cNvSpPr>
            <p:nvPr/>
          </p:nvSpPr>
          <p:spPr bwMode="auto">
            <a:xfrm>
              <a:off x="4875" y="1197"/>
              <a:ext cx="63" cy="60"/>
            </a:xfrm>
            <a:custGeom>
              <a:avLst/>
              <a:gdLst>
                <a:gd name="T0" fmla="*/ 17 w 17"/>
                <a:gd name="T1" fmla="*/ 8 h 16"/>
                <a:gd name="T2" fmla="*/ 9 w 17"/>
                <a:gd name="T3" fmla="*/ 16 h 16"/>
                <a:gd name="T4" fmla="*/ 1 w 17"/>
                <a:gd name="T5" fmla="*/ 9 h 16"/>
                <a:gd name="T6" fmla="*/ 9 w 17"/>
                <a:gd name="T7" fmla="*/ 0 h 16"/>
                <a:gd name="T8" fmla="*/ 17 w 17"/>
                <a:gd name="T9" fmla="*/ 8 h 16"/>
              </a:gdLst>
              <a:ahLst/>
              <a:cxnLst>
                <a:cxn ang="0">
                  <a:pos x="T0" y="T1"/>
                </a:cxn>
                <a:cxn ang="0">
                  <a:pos x="T2" y="T3"/>
                </a:cxn>
                <a:cxn ang="0">
                  <a:pos x="T4" y="T5"/>
                </a:cxn>
                <a:cxn ang="0">
                  <a:pos x="T6" y="T7"/>
                </a:cxn>
                <a:cxn ang="0">
                  <a:pos x="T8" y="T9"/>
                </a:cxn>
              </a:cxnLst>
              <a:rect l="0" t="0" r="r" b="b"/>
              <a:pathLst>
                <a:path w="17" h="16">
                  <a:moveTo>
                    <a:pt x="17" y="8"/>
                  </a:moveTo>
                  <a:cubicBezTo>
                    <a:pt x="17" y="13"/>
                    <a:pt x="14" y="16"/>
                    <a:pt x="9" y="16"/>
                  </a:cubicBezTo>
                  <a:cubicBezTo>
                    <a:pt x="5" y="16"/>
                    <a:pt x="1" y="13"/>
                    <a:pt x="1" y="9"/>
                  </a:cubicBezTo>
                  <a:cubicBezTo>
                    <a:pt x="0" y="4"/>
                    <a:pt x="4" y="1"/>
                    <a:pt x="9" y="0"/>
                  </a:cubicBezTo>
                  <a:cubicBezTo>
                    <a:pt x="13" y="0"/>
                    <a:pt x="17" y="4"/>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3">
              <a:extLst>
                <a:ext uri="{FF2B5EF4-FFF2-40B4-BE49-F238E27FC236}">
                  <a16:creationId xmlns:a16="http://schemas.microsoft.com/office/drawing/2014/main" id="{0D89500B-02B1-4408-BB41-5D75625EBD14}"/>
                </a:ext>
              </a:extLst>
            </p:cNvPr>
            <p:cNvSpPr>
              <a:spLocks/>
            </p:cNvSpPr>
            <p:nvPr/>
          </p:nvSpPr>
          <p:spPr bwMode="auto">
            <a:xfrm>
              <a:off x="6784" y="1137"/>
              <a:ext cx="60" cy="64"/>
            </a:xfrm>
            <a:custGeom>
              <a:avLst/>
              <a:gdLst>
                <a:gd name="T0" fmla="*/ 16 w 16"/>
                <a:gd name="T1" fmla="*/ 8 h 17"/>
                <a:gd name="T2" fmla="*/ 8 w 16"/>
                <a:gd name="T3" fmla="*/ 17 h 17"/>
                <a:gd name="T4" fmla="*/ 0 w 16"/>
                <a:gd name="T5" fmla="*/ 9 h 17"/>
                <a:gd name="T6" fmla="*/ 8 w 16"/>
                <a:gd name="T7" fmla="*/ 0 h 17"/>
                <a:gd name="T8" fmla="*/ 16 w 16"/>
                <a:gd name="T9" fmla="*/ 8 h 17"/>
              </a:gdLst>
              <a:ahLst/>
              <a:cxnLst>
                <a:cxn ang="0">
                  <a:pos x="T0" y="T1"/>
                </a:cxn>
                <a:cxn ang="0">
                  <a:pos x="T2" y="T3"/>
                </a:cxn>
                <a:cxn ang="0">
                  <a:pos x="T4" y="T5"/>
                </a:cxn>
                <a:cxn ang="0">
                  <a:pos x="T6" y="T7"/>
                </a:cxn>
                <a:cxn ang="0">
                  <a:pos x="T8" y="T9"/>
                </a:cxn>
              </a:cxnLst>
              <a:rect l="0" t="0" r="r" b="b"/>
              <a:pathLst>
                <a:path w="16" h="17">
                  <a:moveTo>
                    <a:pt x="16" y="8"/>
                  </a:moveTo>
                  <a:cubicBezTo>
                    <a:pt x="16" y="13"/>
                    <a:pt x="13" y="17"/>
                    <a:pt x="8" y="17"/>
                  </a:cubicBezTo>
                  <a:cubicBezTo>
                    <a:pt x="4" y="17"/>
                    <a:pt x="0" y="13"/>
                    <a:pt x="0" y="9"/>
                  </a:cubicBezTo>
                  <a:cubicBezTo>
                    <a:pt x="0" y="4"/>
                    <a:pt x="3" y="1"/>
                    <a:pt x="8" y="0"/>
                  </a:cubicBezTo>
                  <a:cubicBezTo>
                    <a:pt x="12" y="1"/>
                    <a:pt x="16" y="4"/>
                    <a:pt x="1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
              <a:extLst>
                <a:ext uri="{FF2B5EF4-FFF2-40B4-BE49-F238E27FC236}">
                  <a16:creationId xmlns:a16="http://schemas.microsoft.com/office/drawing/2014/main" id="{6542447B-B538-451D-BF32-0E7B0044E446}"/>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a:extLst>
                <a:ext uri="{FF2B5EF4-FFF2-40B4-BE49-F238E27FC236}">
                  <a16:creationId xmlns:a16="http://schemas.microsoft.com/office/drawing/2014/main" id="{9EB57E7A-9C82-488F-9033-9E60127DBD1C}"/>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63266699"/>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b32f4005-11ee-4571-9771-859f63e08f74"/>
  <p:tag name="MIO_EKGUID" val="4e4d5d42-ff7c-4a06-bfc3-77ea9fd54512"/>
  <p:tag name="MIO_UPDATE" val="True"/>
  <p:tag name="MIO_VERSION" val="02.12.2019 14:58:11"/>
  <p:tag name="MIO_DBID" val="12b0c59e-2253-4124-a5e9-470adf4cb168"/>
  <p:tag name="MIO_LASTDOWNLOADED" val="24.01.2020 05:39:40"/>
  <p:tag name="MIO_OBJECTNAME" val="Get Ready to Participate"/>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fc031707-9e97-4ccc-ae34-c0753b7f2591"/>
  <p:tag name="MIO_EKGUID" val="f41c490d-bfd7-4d3e-b6ca-ccefd6e145b4"/>
  <p:tag name="MIO_UPDATE" val="True"/>
  <p:tag name="MIO_VERSION" val="02.12.2019 14:58:12"/>
  <p:tag name="MIO_DBID" val="12b0c59e-2253-4124-a5e9-470adf4cb168"/>
  <p:tag name="MIO_LASTDOWNLOADED" val="24.01.2020 05:39:41"/>
  <p:tag name="MIO_OBJECTNAME" val="Launch Lab"/>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fc031707-9e97-4ccc-ae34-c0753b7f2591"/>
  <p:tag name="MIO_EKGUID" val="f41c490d-bfd7-4d3e-b6ca-ccefd6e145b4"/>
  <p:tag name="MIO_UPDATE" val="True"/>
  <p:tag name="MIO_VERSION" val="02.12.2019 14:58:12"/>
  <p:tag name="MIO_DBID" val="12b0c59e-2253-4124-a5e9-470adf4cb168"/>
  <p:tag name="MIO_LASTDOWNLOADED" val="24.01.2020 05:39:41"/>
  <p:tag name="MIO_OBJECTNAME" val="Launch Lab"/>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d67d861a-7109-424f-8337-d603a38d76f4"/>
  <p:tag name="MIO_EKGUID" val="801e3df6-faa9-4e68-af41-9e0f1ff861a4"/>
  <p:tag name="MIO_UPDATE" val="True"/>
  <p:tag name="MIO_VERSION" val="02.12.2019 14:58:12"/>
  <p:tag name="MIO_DBID" val="12b0c59e-2253-4124-a5e9-470adf4cb168"/>
  <p:tag name="MIO_LASTDOWNLOADED" val="24.01.2020 05:39:41"/>
  <p:tag name="MIO_OBJECTNAME" val="Lab environment LOD"/>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d67d861a-7109-424f-8337-d603a38d76f4"/>
  <p:tag name="MIO_EKGUID" val="801e3df6-faa9-4e68-af41-9e0f1ff861a4"/>
  <p:tag name="MIO_UPDATE" val="True"/>
  <p:tag name="MIO_VERSION" val="02.12.2019 14:58:12"/>
  <p:tag name="MIO_DBID" val="12b0c59e-2253-4124-a5e9-470adf4cb168"/>
  <p:tag name="MIO_LASTDOWNLOADED" val="24.01.2020 05:39:41"/>
  <p:tag name="MIO_OBJECTNAME" val="Lab environment LOD"/>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9ebde364-126f-4efc-bd5c-42053664fe49"/>
  <p:tag name="MIO_EKGUID" val="ab10b06e-61c1-467f-8508-e51efc0b4fac"/>
  <p:tag name="MIO_UPDATE" val="True"/>
  <p:tag name="MIO_VERSION" val="02.12.2019 14:58:12"/>
  <p:tag name="MIO_DBID" val="12b0c59e-2253-4124-a5e9-470adf4cb168"/>
  <p:tag name="MIO_LASTDOWNLOADED" val="24.01.2020 05:39:41"/>
  <p:tag name="MIO_OBJECTNAME" val="LOD LabTime Remaining"/>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C5255A8D-0C00-4B8A-84C8-2D1E3BE522D5}" vid="{26D3A1E9-793B-4D33-BC1E-F8CD39BEFB3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3.xml><?xml version="1.0" encoding="utf-8"?>
<?mso-contentType ?>
<FormTemplates xmlns="http://schemas.microsoft.com/sharepoint/v3/contenttype/forms">
  <Display>DocumentLibraryForm</Display>
  <Edit>DocumentLibraryForm</Edit>
  <New>DocumentLibraryForm</New>
</FormTemplates>
</file>

<file path=customXml/item2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8.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6F485757-9F3C-4A1E-9E86-E1C1551910BA}">
  <ds:schemaRefs>
    <ds:schemaRef ds:uri="Strauss.PersonalizationDefinition"/>
  </ds:schemaRefs>
</ds:datastoreItem>
</file>

<file path=customXml/itemProps10.xml><?xml version="1.0" encoding="utf-8"?>
<ds:datastoreItem xmlns:ds="http://schemas.openxmlformats.org/officeDocument/2006/customXml" ds:itemID="{6B2F7B94-2B12-4A65-964B-9372138E0DC1}">
  <ds:schemaRefs>
    <ds:schemaRef ds:uri="Strauss.PersonalizationDefinition"/>
  </ds:schemaRefs>
</ds:datastoreItem>
</file>

<file path=customXml/itemProps11.xml><?xml version="1.0" encoding="utf-8"?>
<ds:datastoreItem xmlns:ds="http://schemas.openxmlformats.org/officeDocument/2006/customXml" ds:itemID="{38460639-82D3-47DD-9DC7-3EA280D46F3A}">
  <ds:schemaRefs>
    <ds:schemaRef ds:uri="Strauss.PersonalizationDefinition"/>
  </ds:schemaRefs>
</ds:datastoreItem>
</file>

<file path=customXml/itemProps12.xml><?xml version="1.0" encoding="utf-8"?>
<ds:datastoreItem xmlns:ds="http://schemas.openxmlformats.org/officeDocument/2006/customXml" ds:itemID="{9F5D084F-E9B6-445F-9C61-669506302DF8}">
  <ds:schemaRefs>
    <ds:schemaRef ds:uri="Strauss.PersonalizationDefinition"/>
  </ds:schemaRefs>
</ds:datastoreItem>
</file>

<file path=customXml/itemProps13.xml><?xml version="1.0" encoding="utf-8"?>
<ds:datastoreItem xmlns:ds="http://schemas.openxmlformats.org/officeDocument/2006/customXml" ds:itemID="{F20BD772-F534-4774-95E5-1A26D16F7CD0}">
  <ds:schemaRefs>
    <ds:schemaRef ds:uri="Strauss.PersonalizationDefinition"/>
  </ds:schemaRefs>
</ds:datastoreItem>
</file>

<file path=customXml/itemProps14.xml><?xml version="1.0" encoding="utf-8"?>
<ds:datastoreItem xmlns:ds="http://schemas.openxmlformats.org/officeDocument/2006/customXml" ds:itemID="{AF760E59-97AE-4538-B6A6-5DAE18A6CA97}">
  <ds:schemaRefs>
    <ds:schemaRef ds:uri="Strauss.PersonalizationDefinition"/>
  </ds:schemaRefs>
</ds:datastoreItem>
</file>

<file path=customXml/itemProps15.xml><?xml version="1.0" encoding="utf-8"?>
<ds:datastoreItem xmlns:ds="http://schemas.openxmlformats.org/officeDocument/2006/customXml" ds:itemID="{8D437B87-71C9-4189-A8F5-3EE5CB526C12}">
  <ds:schemaRefs>
    <ds:schemaRef ds:uri="Strauss.PersonalizationDefinition"/>
  </ds:schemaRefs>
</ds:datastoreItem>
</file>

<file path=customXml/itemProps16.xml><?xml version="1.0" encoding="utf-8"?>
<ds:datastoreItem xmlns:ds="http://schemas.openxmlformats.org/officeDocument/2006/customXml" ds:itemID="{D90DEB8C-C00E-4B1C-B45B-737A9292CE09}">
  <ds:schemaRefs>
    <ds:schemaRef ds:uri="Strauss.PersonalizationDefinition"/>
  </ds:schemaRefs>
</ds:datastoreItem>
</file>

<file path=customXml/itemProps17.xml><?xml version="1.0" encoding="utf-8"?>
<ds:datastoreItem xmlns:ds="http://schemas.openxmlformats.org/officeDocument/2006/customXml" ds:itemID="{B2274A60-1BB2-4B7C-B837-1F17CDA5AFC5}">
  <ds:schemaRefs>
    <ds:schemaRef ds:uri="Strauss.PersonalizationDefinition"/>
  </ds:schemaRefs>
</ds:datastoreItem>
</file>

<file path=customXml/itemProps18.xml><?xml version="1.0" encoding="utf-8"?>
<ds:datastoreItem xmlns:ds="http://schemas.openxmlformats.org/officeDocument/2006/customXml" ds:itemID="{B8030BE1-CD21-4E76-B2E2-A06D900556AA}">
  <ds:schemaRefs>
    <ds:schemaRef ds:uri="Strauss.PersonalizationDefinition"/>
  </ds:schemaRefs>
</ds:datastoreItem>
</file>

<file path=customXml/itemProps19.xml><?xml version="1.0" encoding="utf-8"?>
<ds:datastoreItem xmlns:ds="http://schemas.openxmlformats.org/officeDocument/2006/customXml" ds:itemID="{F4E04433-629F-4C74-B4D4-693FBB09B2CF}">
  <ds:schemaRefs>
    <ds:schemaRef ds:uri="Strauss.PersonalizationDefinition"/>
  </ds:schemaRefs>
</ds:datastoreItem>
</file>

<file path=customXml/itemProps2.xml><?xml version="1.0" encoding="utf-8"?>
<ds:datastoreItem xmlns:ds="http://schemas.openxmlformats.org/officeDocument/2006/customXml" ds:itemID="{5A052A5D-CAAA-49BB-9A4B-189F91AE1EB5}">
  <ds:schemaRefs>
    <ds:schemaRef ds:uri="Strauss.PersonalizationDefinition"/>
  </ds:schemaRefs>
</ds:datastoreItem>
</file>

<file path=customXml/itemProps20.xml><?xml version="1.0" encoding="utf-8"?>
<ds:datastoreItem xmlns:ds="http://schemas.openxmlformats.org/officeDocument/2006/customXml" ds:itemID="{74827EF3-017D-4BE4-AB71-90633832EA69}">
  <ds:schemaRefs>
    <ds:schemaRef ds:uri="Strauss.PersonalizationDefinition"/>
  </ds:schemaRefs>
</ds:datastoreItem>
</file>

<file path=customXml/itemProps21.xml><?xml version="1.0" encoding="utf-8"?>
<ds:datastoreItem xmlns:ds="http://schemas.openxmlformats.org/officeDocument/2006/customXml" ds:itemID="{F600DE73-C200-4E71-9348-7A98FF99DA68}">
  <ds:schemaRefs>
    <ds:schemaRef ds:uri="Strauss.PersonalizationDefinition"/>
  </ds:schemaRefs>
</ds:datastoreItem>
</file>

<file path=customXml/itemProps22.xml><?xml version="1.0" encoding="utf-8"?>
<ds:datastoreItem xmlns:ds="http://schemas.openxmlformats.org/officeDocument/2006/customXml" ds:itemID="{A57E80AA-685B-4A33-A51E-808497E74448}">
  <ds:schemaRefs>
    <ds:schemaRef ds:uri="Strauss.PersonalizationDefinition"/>
  </ds:schemaRefs>
</ds:datastoreItem>
</file>

<file path=customXml/itemProps23.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24.xml><?xml version="1.0" encoding="utf-8"?>
<ds:datastoreItem xmlns:ds="http://schemas.openxmlformats.org/officeDocument/2006/customXml" ds:itemID="{D2A135DC-9EE4-4A0A-AFCE-45362BC7A4DE}">
  <ds:schemaRefs>
    <ds:schemaRef ds:uri="Strauss.PersonalizationDefinition"/>
  </ds:schemaRefs>
</ds:datastoreItem>
</file>

<file path=customXml/itemProps25.xml><?xml version="1.0" encoding="utf-8"?>
<ds:datastoreItem xmlns:ds="http://schemas.openxmlformats.org/officeDocument/2006/customXml" ds:itemID="{11A1F8CC-BEC0-4882-B6E1-115CCC511AE8}">
  <ds:schemaRefs>
    <ds:schemaRef ds:uri="Strauss.PersonalizationDefinition"/>
  </ds:schemaRefs>
</ds:datastoreItem>
</file>

<file path=customXml/itemProps26.xml><?xml version="1.0" encoding="utf-8"?>
<ds:datastoreItem xmlns:ds="http://schemas.openxmlformats.org/officeDocument/2006/customXml" ds:itemID="{D959A07B-C49D-428D-B914-113B444FB5E7}">
  <ds:schemaRefs>
    <ds:schemaRef ds:uri="Strauss.PersonalizationDefinition"/>
  </ds:schemaRefs>
</ds:datastoreItem>
</file>

<file path=customXml/itemProps27.xml><?xml version="1.0" encoding="utf-8"?>
<ds:datastoreItem xmlns:ds="http://schemas.openxmlformats.org/officeDocument/2006/customXml" ds:itemID="{F5FF0384-C374-4CC8-B11E-F8901E673480}">
  <ds:schemaRefs>
    <ds:schemaRef ds:uri="Strauss.PersonalizationDefinition"/>
  </ds:schemaRefs>
</ds:datastoreItem>
</file>

<file path=customXml/itemProps28.xml><?xml version="1.0" encoding="utf-8"?>
<ds:datastoreItem xmlns:ds="http://schemas.openxmlformats.org/officeDocument/2006/customXml" ds:itemID="{27B871C0-5D7E-44C4-9AE5-831CC5C91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9.xml><?xml version="1.0" encoding="utf-8"?>
<ds:datastoreItem xmlns:ds="http://schemas.openxmlformats.org/officeDocument/2006/customXml" ds:itemID="{4639FFAC-55D9-4434-BCF0-AC2B853C2C49}">
  <ds:schemaRefs>
    <ds:schemaRef ds:uri="Strauss.PersonalizationDefinition"/>
  </ds:schemaRefs>
</ds:datastoreItem>
</file>

<file path=customXml/itemProps3.xml><?xml version="1.0" encoding="utf-8"?>
<ds:datastoreItem xmlns:ds="http://schemas.openxmlformats.org/officeDocument/2006/customXml" ds:itemID="{73B6D0A6-C48D-49BD-A439-3788E7E33FC9}">
  <ds:schemaRefs>
    <ds:schemaRef ds:uri="Strauss.PersonalizationDefinition"/>
  </ds:schemaRefs>
</ds:datastoreItem>
</file>

<file path=customXml/itemProps30.xml><?xml version="1.0" encoding="utf-8"?>
<ds:datastoreItem xmlns:ds="http://schemas.openxmlformats.org/officeDocument/2006/customXml" ds:itemID="{C412598E-BF43-4F55-B1FB-DC8EF944E888}">
  <ds:schemaRef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http://purl.org/dc/elements/1.1/"/>
    <ds:schemaRef ds:uri="b66b6bb9-0c3b-4baf-b7e0-24038b18f231"/>
    <ds:schemaRef ds:uri="http://schemas.microsoft.com/office/2006/metadata/properties"/>
    <ds:schemaRef ds:uri="0b15a96f-9efd-4f0c-b199-c53b2a01cb9d"/>
    <ds:schemaRef ds:uri="http://schemas.microsoft.com/sharepoint/v3"/>
    <ds:schemaRef ds:uri="http://www.w3.org/XML/1998/namespace"/>
  </ds:schemaRefs>
</ds:datastoreItem>
</file>

<file path=customXml/itemProps31.xml><?xml version="1.0" encoding="utf-8"?>
<ds:datastoreItem xmlns:ds="http://schemas.openxmlformats.org/officeDocument/2006/customXml" ds:itemID="{3EEC1415-D512-4A35-81D3-A559BA0F166E}">
  <ds:schemaRefs>
    <ds:schemaRef ds:uri="Strauss.PersonalizationDefinition"/>
  </ds:schemaRefs>
</ds:datastoreItem>
</file>

<file path=customXml/itemProps4.xml><?xml version="1.0" encoding="utf-8"?>
<ds:datastoreItem xmlns:ds="http://schemas.openxmlformats.org/officeDocument/2006/customXml" ds:itemID="{023B01BD-D927-4EC4-9E64-4D4B894E2F5D}">
  <ds:schemaRefs>
    <ds:schemaRef ds:uri="Strauss.PersonalizationDefinition"/>
  </ds:schemaRefs>
</ds:datastoreItem>
</file>

<file path=customXml/itemProps5.xml><?xml version="1.0" encoding="utf-8"?>
<ds:datastoreItem xmlns:ds="http://schemas.openxmlformats.org/officeDocument/2006/customXml" ds:itemID="{DF333A1B-0A9C-4DA8-ADAB-4378B69FDC48}">
  <ds:schemaRefs>
    <ds:schemaRef ds:uri="Strauss.PersonalizationDefinition"/>
  </ds:schemaRefs>
</ds:datastoreItem>
</file>

<file path=customXml/itemProps6.xml><?xml version="1.0" encoding="utf-8"?>
<ds:datastoreItem xmlns:ds="http://schemas.openxmlformats.org/officeDocument/2006/customXml" ds:itemID="{81A5550D-B138-4182-9A9D-4110A11BBE58}">
  <ds:schemaRefs>
    <ds:schemaRef ds:uri="Strauss.PersonalizationDefinition"/>
  </ds:schemaRefs>
</ds:datastoreItem>
</file>

<file path=customXml/itemProps7.xml><?xml version="1.0" encoding="utf-8"?>
<ds:datastoreItem xmlns:ds="http://schemas.openxmlformats.org/officeDocument/2006/customXml" ds:itemID="{E163F619-7E5B-423F-B926-CDF6A9A23149}">
  <ds:schemaRefs>
    <ds:schemaRef ds:uri="Strauss.PersonalizationDefinition"/>
  </ds:schemaRefs>
</ds:datastoreItem>
</file>

<file path=customXml/itemProps8.xml><?xml version="1.0" encoding="utf-8"?>
<ds:datastoreItem xmlns:ds="http://schemas.openxmlformats.org/officeDocument/2006/customXml" ds:itemID="{5288D834-DB30-4721-8C65-DF36F74AA0B8}">
  <ds:schemaRefs>
    <ds:schemaRef ds:uri="Strauss.PersonalizationDefinition"/>
  </ds:schemaRefs>
</ds:datastoreItem>
</file>

<file path=customXml/itemProps9.xml><?xml version="1.0" encoding="utf-8"?>
<ds:datastoreItem xmlns:ds="http://schemas.openxmlformats.org/officeDocument/2006/customXml" ds:itemID="{558CBA8F-7A1C-469A-B57D-6A66ABCEC61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843</TotalTime>
  <Words>656</Words>
  <Application>Microsoft Office PowerPoint</Application>
  <PresentationFormat>Widescreen</PresentationFormat>
  <Paragraphs>170</Paragraphs>
  <Slides>17</Slides>
  <Notes>16</Notes>
  <HiddenSlides>1</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17</vt:i4>
      </vt:variant>
    </vt:vector>
  </HeadingPairs>
  <TitlesOfParts>
    <vt:vector size="28" baseType="lpstr">
      <vt:lpstr>NSimSun</vt:lpstr>
      <vt:lpstr>Arial</vt:lpstr>
      <vt:lpstr>Calibri</vt:lpstr>
      <vt:lpstr>Comic Sans MS</vt:lpstr>
      <vt:lpstr>Consolas</vt:lpstr>
      <vt:lpstr>Lucida Console</vt:lpstr>
      <vt:lpstr>Segoe UI</vt:lpstr>
      <vt:lpstr>Segoe UI Semibold</vt:lpstr>
      <vt:lpstr>Wingdings</vt:lpstr>
      <vt:lpstr>Dark Blue</vt:lpstr>
      <vt:lpstr>Workshop</vt:lpstr>
      <vt:lpstr>WorkshopPLUS –  SQL Server: Performance Tuning and Optimization</vt:lpstr>
      <vt:lpstr>Facilities</vt:lpstr>
      <vt:lpstr>Objectives</vt:lpstr>
      <vt:lpstr>Agenda Day 1</vt:lpstr>
      <vt:lpstr>Agenda Day 2</vt:lpstr>
      <vt:lpstr>Agenda Day 3</vt:lpstr>
      <vt:lpstr>Agenda Day 4</vt:lpstr>
      <vt:lpstr>Optional Lessons</vt:lpstr>
      <vt:lpstr>Get Ready to Participate</vt:lpstr>
      <vt:lpstr>Attendee Introductions</vt:lpstr>
      <vt:lpstr>Class Resources</vt:lpstr>
      <vt:lpstr>Launch Lab</vt:lpstr>
      <vt:lpstr>Lab environment</vt:lpstr>
      <vt:lpstr>Lab environment </vt:lpstr>
      <vt:lpstr>Lab Time Remaining</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78</cp:revision>
  <dcterms:created xsi:type="dcterms:W3CDTF">2019-01-14T09:17:39Z</dcterms:created>
  <dcterms:modified xsi:type="dcterms:W3CDTF">2024-01-04T17:1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